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13"/>
  </p:notesMasterIdLst>
  <p:handoutMasterIdLst>
    <p:handoutMasterId r:id="rId14"/>
  </p:handoutMasterIdLst>
  <p:sldIdLst>
    <p:sldId id="256" r:id="rId7"/>
    <p:sldId id="410" r:id="rId8"/>
    <p:sldId id="412" r:id="rId9"/>
    <p:sldId id="413" r:id="rId10"/>
    <p:sldId id="411" r:id="rId11"/>
    <p:sldId id="273" r:id="rId12"/>
  </p:sldIdLst>
  <p:sldSz cx="12192000" cy="6858000"/>
  <p:notesSz cx="7315200" cy="9601200"/>
  <p:custDataLst>
    <p:tags r:id="rId1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672" userDrawn="1">
          <p15:clr>
            <a:srgbClr val="A4A3A4"/>
          </p15:clr>
        </p15:guide>
        <p15:guide id="7" pos="3659" userDrawn="1">
          <p15:clr>
            <a:srgbClr val="A4A3A4"/>
          </p15:clr>
        </p15:guide>
        <p15:guide id="8" orient="horz" pos="1032" userDrawn="1">
          <p15:clr>
            <a:srgbClr val="A4A3A4"/>
          </p15:clr>
        </p15:guide>
        <p15:guide id="9" pos="57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hadik, Swapnil" initials="MS" lastIdx="2" clrIdx="0">
    <p:extLst>
      <p:ext uri="{19B8F6BF-5375-455C-9EA6-DF929625EA0E}">
        <p15:presenceInfo xmlns:p15="http://schemas.microsoft.com/office/powerpoint/2012/main" userId="S::swapnil.a.mahadik@capgemini.com::19632102-dd35-4a48-ad40-2629b84948a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E6E7E7"/>
    <a:srgbClr val="01D1D0"/>
    <a:srgbClr val="0070AD"/>
    <a:srgbClr val="7F7F7F"/>
    <a:srgbClr val="6D64CC"/>
    <a:srgbClr val="7E39BA"/>
    <a:srgbClr val="4701A7"/>
    <a:srgbClr val="C8FF16"/>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291" autoAdjust="0"/>
  </p:normalViewPr>
  <p:slideViewPr>
    <p:cSldViewPr>
      <p:cViewPr varScale="1">
        <p:scale>
          <a:sx n="67" d="100"/>
          <a:sy n="67" d="100"/>
        </p:scale>
        <p:origin x="644" y="44"/>
      </p:cViewPr>
      <p:guideLst>
        <p:guide orient="horz" pos="672"/>
        <p:guide pos="3659"/>
        <p:guide orient="horz" pos="1032"/>
        <p:guide pos="576"/>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0"/>
    </p:cViewPr>
  </p:sorterViewPr>
  <p:notesViewPr>
    <p:cSldViewPr>
      <p:cViewPr varScale="1">
        <p:scale>
          <a:sx n="63" d="100"/>
          <a:sy n="63" d="100"/>
        </p:scale>
        <p:origin x="3134" y="7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hadik, Swapnil" userId="19632102-dd35-4a48-ad40-2629b84948af" providerId="ADAL" clId="{C9F6A83A-69CC-4EB1-B774-42E975C6A3A3}"/>
    <pc:docChg chg="undo custSel addSld delSld modSld sldOrd">
      <pc:chgData name="Mahadik, Swapnil" userId="19632102-dd35-4a48-ad40-2629b84948af" providerId="ADAL" clId="{C9F6A83A-69CC-4EB1-B774-42E975C6A3A3}" dt="2019-08-12T05:07:57.390" v="1493" actId="20577"/>
      <pc:docMkLst>
        <pc:docMk/>
      </pc:docMkLst>
      <pc:sldChg chg="addSp delSp modSp">
        <pc:chgData name="Mahadik, Swapnil" userId="19632102-dd35-4a48-ad40-2629b84948af" providerId="ADAL" clId="{C9F6A83A-69CC-4EB1-B774-42E975C6A3A3}" dt="2019-08-12T03:35:27.224" v="81" actId="108"/>
        <pc:sldMkLst>
          <pc:docMk/>
          <pc:sldMk cId="0" sldId="256"/>
        </pc:sldMkLst>
        <pc:spChg chg="del mod">
          <ac:chgData name="Mahadik, Swapnil" userId="19632102-dd35-4a48-ad40-2629b84948af" providerId="ADAL" clId="{C9F6A83A-69CC-4EB1-B774-42E975C6A3A3}" dt="2019-08-12T03:33:30.345" v="13" actId="478"/>
          <ac:spMkLst>
            <pc:docMk/>
            <pc:sldMk cId="0" sldId="256"/>
            <ac:spMk id="2" creationId="{00000000-0000-0000-0000-000000000000}"/>
          </ac:spMkLst>
        </pc:spChg>
        <pc:spChg chg="add mod">
          <ac:chgData name="Mahadik, Swapnil" userId="19632102-dd35-4a48-ad40-2629b84948af" providerId="ADAL" clId="{C9F6A83A-69CC-4EB1-B774-42E975C6A3A3}" dt="2019-08-12T03:35:27.224" v="81" actId="108"/>
          <ac:spMkLst>
            <pc:docMk/>
            <pc:sldMk cId="0" sldId="256"/>
            <ac:spMk id="4" creationId="{D24FF26F-C235-4BC9-B24A-2407F7AE64BB}"/>
          </ac:spMkLst>
        </pc:spChg>
      </pc:sldChg>
      <pc:sldChg chg="del">
        <pc:chgData name="Mahadik, Swapnil" userId="19632102-dd35-4a48-ad40-2629b84948af" providerId="ADAL" clId="{C9F6A83A-69CC-4EB1-B774-42E975C6A3A3}" dt="2019-08-12T03:32:53.157" v="0" actId="2696"/>
        <pc:sldMkLst>
          <pc:docMk/>
          <pc:sldMk cId="1236768401" sldId="400"/>
        </pc:sldMkLst>
      </pc:sldChg>
      <pc:sldChg chg="del">
        <pc:chgData name="Mahadik, Swapnil" userId="19632102-dd35-4a48-ad40-2629b84948af" providerId="ADAL" clId="{C9F6A83A-69CC-4EB1-B774-42E975C6A3A3}" dt="2019-08-12T03:32:53.193" v="1" actId="2696"/>
        <pc:sldMkLst>
          <pc:docMk/>
          <pc:sldMk cId="3032548259" sldId="401"/>
        </pc:sldMkLst>
      </pc:sldChg>
      <pc:sldChg chg="del">
        <pc:chgData name="Mahadik, Swapnil" userId="19632102-dd35-4a48-ad40-2629b84948af" providerId="ADAL" clId="{C9F6A83A-69CC-4EB1-B774-42E975C6A3A3}" dt="2019-08-12T03:32:53.224" v="2" actId="2696"/>
        <pc:sldMkLst>
          <pc:docMk/>
          <pc:sldMk cId="3252116177" sldId="402"/>
        </pc:sldMkLst>
      </pc:sldChg>
      <pc:sldChg chg="del">
        <pc:chgData name="Mahadik, Swapnil" userId="19632102-dd35-4a48-ad40-2629b84948af" providerId="ADAL" clId="{C9F6A83A-69CC-4EB1-B774-42E975C6A3A3}" dt="2019-08-12T03:32:53.273" v="5" actId="2696"/>
        <pc:sldMkLst>
          <pc:docMk/>
          <pc:sldMk cId="4012661989" sldId="404"/>
        </pc:sldMkLst>
      </pc:sldChg>
      <pc:sldChg chg="del">
        <pc:chgData name="Mahadik, Swapnil" userId="19632102-dd35-4a48-ad40-2629b84948af" providerId="ADAL" clId="{C9F6A83A-69CC-4EB1-B774-42E975C6A3A3}" dt="2019-08-12T03:32:53.246" v="3" actId="2696"/>
        <pc:sldMkLst>
          <pc:docMk/>
          <pc:sldMk cId="3113623257" sldId="405"/>
        </pc:sldMkLst>
      </pc:sldChg>
      <pc:sldChg chg="del">
        <pc:chgData name="Mahadik, Swapnil" userId="19632102-dd35-4a48-ad40-2629b84948af" providerId="ADAL" clId="{C9F6A83A-69CC-4EB1-B774-42E975C6A3A3}" dt="2019-08-12T03:32:53.293" v="6" actId="2696"/>
        <pc:sldMkLst>
          <pc:docMk/>
          <pc:sldMk cId="2892386411" sldId="406"/>
        </pc:sldMkLst>
      </pc:sldChg>
      <pc:sldChg chg="del">
        <pc:chgData name="Mahadik, Swapnil" userId="19632102-dd35-4a48-ad40-2629b84948af" providerId="ADAL" clId="{C9F6A83A-69CC-4EB1-B774-42E975C6A3A3}" dt="2019-08-12T03:32:53.314" v="7" actId="2696"/>
        <pc:sldMkLst>
          <pc:docMk/>
          <pc:sldMk cId="3358176454" sldId="407"/>
        </pc:sldMkLst>
      </pc:sldChg>
      <pc:sldChg chg="del">
        <pc:chgData name="Mahadik, Swapnil" userId="19632102-dd35-4a48-ad40-2629b84948af" providerId="ADAL" clId="{C9F6A83A-69CC-4EB1-B774-42E975C6A3A3}" dt="2019-08-12T03:32:53.340" v="8" actId="2696"/>
        <pc:sldMkLst>
          <pc:docMk/>
          <pc:sldMk cId="4232490088" sldId="408"/>
        </pc:sldMkLst>
      </pc:sldChg>
      <pc:sldChg chg="del">
        <pc:chgData name="Mahadik, Swapnil" userId="19632102-dd35-4a48-ad40-2629b84948af" providerId="ADAL" clId="{C9F6A83A-69CC-4EB1-B774-42E975C6A3A3}" dt="2019-08-12T03:32:53.260" v="4" actId="2696"/>
        <pc:sldMkLst>
          <pc:docMk/>
          <pc:sldMk cId="1651071293" sldId="409"/>
        </pc:sldMkLst>
      </pc:sldChg>
      <pc:sldChg chg="addSp delSp modSp">
        <pc:chgData name="Mahadik, Swapnil" userId="19632102-dd35-4a48-ad40-2629b84948af" providerId="ADAL" clId="{C9F6A83A-69CC-4EB1-B774-42E975C6A3A3}" dt="2019-08-12T05:06:42.953" v="1474" actId="33524"/>
        <pc:sldMkLst>
          <pc:docMk/>
          <pc:sldMk cId="3473404508" sldId="410"/>
        </pc:sldMkLst>
        <pc:spChg chg="add mod">
          <ac:chgData name="Mahadik, Swapnil" userId="19632102-dd35-4a48-ad40-2629b84948af" providerId="ADAL" clId="{C9F6A83A-69CC-4EB1-B774-42E975C6A3A3}" dt="2019-08-12T04:00:34.983" v="564" actId="14100"/>
          <ac:spMkLst>
            <pc:docMk/>
            <pc:sldMk cId="3473404508" sldId="410"/>
            <ac:spMk id="2" creationId="{12D0E2A9-338A-49ED-A84B-A137F05B2D00}"/>
          </ac:spMkLst>
        </pc:spChg>
        <pc:spChg chg="del">
          <ac:chgData name="Mahadik, Swapnil" userId="19632102-dd35-4a48-ad40-2629b84948af" providerId="ADAL" clId="{C9F6A83A-69CC-4EB1-B774-42E975C6A3A3}" dt="2019-08-12T03:37:43.275" v="159" actId="478"/>
          <ac:spMkLst>
            <pc:docMk/>
            <pc:sldMk cId="3473404508" sldId="410"/>
            <ac:spMk id="11" creationId="{D8A7950A-E51E-439E-8DDB-43F414AC63F8}"/>
          </ac:spMkLst>
        </pc:spChg>
        <pc:spChg chg="del">
          <ac:chgData name="Mahadik, Swapnil" userId="19632102-dd35-4a48-ad40-2629b84948af" providerId="ADAL" clId="{C9F6A83A-69CC-4EB1-B774-42E975C6A3A3}" dt="2019-08-12T03:37:41.730" v="158" actId="478"/>
          <ac:spMkLst>
            <pc:docMk/>
            <pc:sldMk cId="3473404508" sldId="410"/>
            <ac:spMk id="12" creationId="{7B4A431D-85EF-468D-A872-EACB7EDE8DFA}"/>
          </ac:spMkLst>
        </pc:spChg>
        <pc:spChg chg="del">
          <ac:chgData name="Mahadik, Swapnil" userId="19632102-dd35-4a48-ad40-2629b84948af" providerId="ADAL" clId="{C9F6A83A-69CC-4EB1-B774-42E975C6A3A3}" dt="2019-08-12T03:37:44.682" v="160" actId="478"/>
          <ac:spMkLst>
            <pc:docMk/>
            <pc:sldMk cId="3473404508" sldId="410"/>
            <ac:spMk id="13" creationId="{5F14696E-D36D-465F-86F8-F6B309CC1D78}"/>
          </ac:spMkLst>
        </pc:spChg>
        <pc:spChg chg="add del mod">
          <ac:chgData name="Mahadik, Swapnil" userId="19632102-dd35-4a48-ad40-2629b84948af" providerId="ADAL" clId="{C9F6A83A-69CC-4EB1-B774-42E975C6A3A3}" dt="2019-08-12T03:38:18.299" v="165" actId="207"/>
          <ac:spMkLst>
            <pc:docMk/>
            <pc:sldMk cId="3473404508" sldId="410"/>
            <ac:spMk id="19" creationId="{1E931233-6FC2-41A4-B21D-06DDEC2DA6A1}"/>
          </ac:spMkLst>
        </pc:spChg>
        <pc:spChg chg="del">
          <ac:chgData name="Mahadik, Swapnil" userId="19632102-dd35-4a48-ad40-2629b84948af" providerId="ADAL" clId="{C9F6A83A-69CC-4EB1-B774-42E975C6A3A3}" dt="2019-08-12T03:36:23.047" v="117" actId="478"/>
          <ac:spMkLst>
            <pc:docMk/>
            <pc:sldMk cId="3473404508" sldId="410"/>
            <ac:spMk id="20" creationId="{19965CFC-4BA9-45B8-8EBC-8B0637400908}"/>
          </ac:spMkLst>
        </pc:spChg>
        <pc:spChg chg="del">
          <ac:chgData name="Mahadik, Swapnil" userId="19632102-dd35-4a48-ad40-2629b84948af" providerId="ADAL" clId="{C9F6A83A-69CC-4EB1-B774-42E975C6A3A3}" dt="2019-08-12T03:36:19.322" v="115" actId="478"/>
          <ac:spMkLst>
            <pc:docMk/>
            <pc:sldMk cId="3473404508" sldId="410"/>
            <ac:spMk id="21" creationId="{0319AB45-9CFC-4ED0-A02F-BBB6E3B93B47}"/>
          </ac:spMkLst>
        </pc:spChg>
        <pc:spChg chg="del">
          <ac:chgData name="Mahadik, Swapnil" userId="19632102-dd35-4a48-ad40-2629b84948af" providerId="ADAL" clId="{C9F6A83A-69CC-4EB1-B774-42E975C6A3A3}" dt="2019-08-12T03:36:21.444" v="116" actId="478"/>
          <ac:spMkLst>
            <pc:docMk/>
            <pc:sldMk cId="3473404508" sldId="410"/>
            <ac:spMk id="22" creationId="{97D87FFC-1A98-473B-96E6-960E16F769D1}"/>
          </ac:spMkLst>
        </pc:spChg>
        <pc:spChg chg="del mod">
          <ac:chgData name="Mahadik, Swapnil" userId="19632102-dd35-4a48-ad40-2629b84948af" providerId="ADAL" clId="{C9F6A83A-69CC-4EB1-B774-42E975C6A3A3}" dt="2019-08-12T03:36:34.709" v="123" actId="478"/>
          <ac:spMkLst>
            <pc:docMk/>
            <pc:sldMk cId="3473404508" sldId="410"/>
            <ac:spMk id="23" creationId="{74449B5E-B8FE-4D66-AC0D-F7D091E809B3}"/>
          </ac:spMkLst>
        </pc:spChg>
        <pc:spChg chg="del">
          <ac:chgData name="Mahadik, Swapnil" userId="19632102-dd35-4a48-ad40-2629b84948af" providerId="ADAL" clId="{C9F6A83A-69CC-4EB1-B774-42E975C6A3A3}" dt="2019-08-12T03:37:05.079" v="132" actId="478"/>
          <ac:spMkLst>
            <pc:docMk/>
            <pc:sldMk cId="3473404508" sldId="410"/>
            <ac:spMk id="24" creationId="{C233C96D-A98C-4EF5-8070-8AB9821E0FC6}"/>
          </ac:spMkLst>
        </pc:spChg>
        <pc:spChg chg="del">
          <ac:chgData name="Mahadik, Swapnil" userId="19632102-dd35-4a48-ad40-2629b84948af" providerId="ADAL" clId="{C9F6A83A-69CC-4EB1-B774-42E975C6A3A3}" dt="2019-08-12T03:36:10.964" v="110" actId="478"/>
          <ac:spMkLst>
            <pc:docMk/>
            <pc:sldMk cId="3473404508" sldId="410"/>
            <ac:spMk id="25" creationId="{6D70F3F8-1108-4EE0-A2B2-37D24C3CA6AA}"/>
          </ac:spMkLst>
        </pc:spChg>
        <pc:spChg chg="mod">
          <ac:chgData name="Mahadik, Swapnil" userId="19632102-dd35-4a48-ad40-2629b84948af" providerId="ADAL" clId="{C9F6A83A-69CC-4EB1-B774-42E975C6A3A3}" dt="2019-08-12T03:59:00.171" v="423" actId="1036"/>
          <ac:spMkLst>
            <pc:docMk/>
            <pc:sldMk cId="3473404508" sldId="410"/>
            <ac:spMk id="26" creationId="{8819DC07-FB40-4ACC-8A6E-CD2B974DB38B}"/>
          </ac:spMkLst>
        </pc:spChg>
        <pc:spChg chg="del mod">
          <ac:chgData name="Mahadik, Swapnil" userId="19632102-dd35-4a48-ad40-2629b84948af" providerId="ADAL" clId="{C9F6A83A-69CC-4EB1-B774-42E975C6A3A3}" dt="2019-08-12T03:37:32.190" v="152" actId="478"/>
          <ac:spMkLst>
            <pc:docMk/>
            <pc:sldMk cId="3473404508" sldId="410"/>
            <ac:spMk id="42" creationId="{DF632D59-ED33-4958-B76B-3BE83B851578}"/>
          </ac:spMkLst>
        </pc:spChg>
        <pc:spChg chg="add del mod">
          <ac:chgData name="Mahadik, Swapnil" userId="19632102-dd35-4a48-ad40-2629b84948af" providerId="ADAL" clId="{C9F6A83A-69CC-4EB1-B774-42E975C6A3A3}" dt="2019-08-12T03:37:05.079" v="132" actId="478"/>
          <ac:spMkLst>
            <pc:docMk/>
            <pc:sldMk cId="3473404508" sldId="410"/>
            <ac:spMk id="43" creationId="{3F1440DA-6EB6-444F-824C-D858EAB12C3A}"/>
          </ac:spMkLst>
        </pc:spChg>
        <pc:spChg chg="add del mod">
          <ac:chgData name="Mahadik, Swapnil" userId="19632102-dd35-4a48-ad40-2629b84948af" providerId="ADAL" clId="{C9F6A83A-69CC-4EB1-B774-42E975C6A3A3}" dt="2019-08-12T03:37:05.079" v="132" actId="478"/>
          <ac:spMkLst>
            <pc:docMk/>
            <pc:sldMk cId="3473404508" sldId="410"/>
            <ac:spMk id="44" creationId="{70EFF306-816D-4AD3-8A29-90E704B9C254}"/>
          </ac:spMkLst>
        </pc:spChg>
        <pc:spChg chg="add del mod">
          <ac:chgData name="Mahadik, Swapnil" userId="19632102-dd35-4a48-ad40-2629b84948af" providerId="ADAL" clId="{C9F6A83A-69CC-4EB1-B774-42E975C6A3A3}" dt="2019-08-12T03:37:05.079" v="132" actId="478"/>
          <ac:spMkLst>
            <pc:docMk/>
            <pc:sldMk cId="3473404508" sldId="410"/>
            <ac:spMk id="45" creationId="{BECE4E78-A2D2-427A-894E-18A93B90D963}"/>
          </ac:spMkLst>
        </pc:spChg>
        <pc:spChg chg="add del mod">
          <ac:chgData name="Mahadik, Swapnil" userId="19632102-dd35-4a48-ad40-2629b84948af" providerId="ADAL" clId="{C9F6A83A-69CC-4EB1-B774-42E975C6A3A3}" dt="2019-08-12T03:37:05.079" v="132" actId="478"/>
          <ac:spMkLst>
            <pc:docMk/>
            <pc:sldMk cId="3473404508" sldId="410"/>
            <ac:spMk id="46" creationId="{0556BCA6-DCD0-4929-9E2F-2BE471B718F6}"/>
          </ac:spMkLst>
        </pc:spChg>
        <pc:spChg chg="add mod">
          <ac:chgData name="Mahadik, Swapnil" userId="19632102-dd35-4a48-ad40-2629b84948af" providerId="ADAL" clId="{C9F6A83A-69CC-4EB1-B774-42E975C6A3A3}" dt="2019-08-12T04:00:28.031" v="563" actId="20577"/>
          <ac:spMkLst>
            <pc:docMk/>
            <pc:sldMk cId="3473404508" sldId="410"/>
            <ac:spMk id="47" creationId="{E903FB25-365C-4B74-B281-E4B6E624546E}"/>
          </ac:spMkLst>
        </pc:spChg>
        <pc:spChg chg="add mod">
          <ac:chgData name="Mahadik, Swapnil" userId="19632102-dd35-4a48-ad40-2629b84948af" providerId="ADAL" clId="{C9F6A83A-69CC-4EB1-B774-42E975C6A3A3}" dt="2019-08-12T05:06:42.953" v="1474" actId="33524"/>
          <ac:spMkLst>
            <pc:docMk/>
            <pc:sldMk cId="3473404508" sldId="410"/>
            <ac:spMk id="48" creationId="{31DE0A5D-52F8-475A-AA8A-85576EE02183}"/>
          </ac:spMkLst>
        </pc:spChg>
        <pc:spChg chg="del">
          <ac:chgData name="Mahadik, Swapnil" userId="19632102-dd35-4a48-ad40-2629b84948af" providerId="ADAL" clId="{C9F6A83A-69CC-4EB1-B774-42E975C6A3A3}" dt="2019-08-12T03:37:39.939" v="157" actId="478"/>
          <ac:spMkLst>
            <pc:docMk/>
            <pc:sldMk cId="3473404508" sldId="410"/>
            <ac:spMk id="129" creationId="{1DF8FEA7-59D2-4117-BD8E-C9C1935C3F6F}"/>
          </ac:spMkLst>
        </pc:spChg>
        <pc:spChg chg="del">
          <ac:chgData name="Mahadik, Swapnil" userId="19632102-dd35-4a48-ad40-2629b84948af" providerId="ADAL" clId="{C9F6A83A-69CC-4EB1-B774-42E975C6A3A3}" dt="2019-08-12T03:37:05.079" v="132" actId="478"/>
          <ac:spMkLst>
            <pc:docMk/>
            <pc:sldMk cId="3473404508" sldId="410"/>
            <ac:spMk id="130" creationId="{3C010611-6961-4A0C-9BF4-863B05222D1F}"/>
          </ac:spMkLst>
        </pc:spChg>
        <pc:spChg chg="del">
          <ac:chgData name="Mahadik, Swapnil" userId="19632102-dd35-4a48-ad40-2629b84948af" providerId="ADAL" clId="{C9F6A83A-69CC-4EB1-B774-42E975C6A3A3}" dt="2019-08-12T03:37:39.500" v="156" actId="478"/>
          <ac:spMkLst>
            <pc:docMk/>
            <pc:sldMk cId="3473404508" sldId="410"/>
            <ac:spMk id="156" creationId="{B1B4454C-1DFC-4512-B6DF-F6FE8DAA386D}"/>
          </ac:spMkLst>
        </pc:spChg>
        <pc:spChg chg="del">
          <ac:chgData name="Mahadik, Swapnil" userId="19632102-dd35-4a48-ad40-2629b84948af" providerId="ADAL" clId="{C9F6A83A-69CC-4EB1-B774-42E975C6A3A3}" dt="2019-08-12T03:37:37.571" v="155" actId="478"/>
          <ac:spMkLst>
            <pc:docMk/>
            <pc:sldMk cId="3473404508" sldId="410"/>
            <ac:spMk id="157" creationId="{8B06E5A9-C221-4084-A2E2-1D450FD26B4D}"/>
          </ac:spMkLst>
        </pc:spChg>
        <pc:spChg chg="del">
          <ac:chgData name="Mahadik, Swapnil" userId="19632102-dd35-4a48-ad40-2629b84948af" providerId="ADAL" clId="{C9F6A83A-69CC-4EB1-B774-42E975C6A3A3}" dt="2019-08-12T03:37:45.984" v="161" actId="478"/>
          <ac:spMkLst>
            <pc:docMk/>
            <pc:sldMk cId="3473404508" sldId="410"/>
            <ac:spMk id="158" creationId="{A0A723E4-D3A2-404B-9F14-A17947311756}"/>
          </ac:spMkLst>
        </pc:spChg>
        <pc:spChg chg="del">
          <ac:chgData name="Mahadik, Swapnil" userId="19632102-dd35-4a48-ad40-2629b84948af" providerId="ADAL" clId="{C9F6A83A-69CC-4EB1-B774-42E975C6A3A3}" dt="2019-08-12T03:37:11.902" v="134" actId="478"/>
          <ac:spMkLst>
            <pc:docMk/>
            <pc:sldMk cId="3473404508" sldId="410"/>
            <ac:spMk id="159" creationId="{72530D32-892B-4D40-81DE-AB13320B8887}"/>
          </ac:spMkLst>
        </pc:spChg>
        <pc:spChg chg="del">
          <ac:chgData name="Mahadik, Swapnil" userId="19632102-dd35-4a48-ad40-2629b84948af" providerId="ADAL" clId="{C9F6A83A-69CC-4EB1-B774-42E975C6A3A3}" dt="2019-08-12T03:37:15.421" v="136" actId="478"/>
          <ac:spMkLst>
            <pc:docMk/>
            <pc:sldMk cId="3473404508" sldId="410"/>
            <ac:spMk id="160" creationId="{D67F4C4D-C7F6-4363-BD8E-3F606D25D0E5}"/>
          </ac:spMkLst>
        </pc:spChg>
        <pc:spChg chg="del">
          <ac:chgData name="Mahadik, Swapnil" userId="19632102-dd35-4a48-ad40-2629b84948af" providerId="ADAL" clId="{C9F6A83A-69CC-4EB1-B774-42E975C6A3A3}" dt="2019-08-12T03:37:34.564" v="153" actId="478"/>
          <ac:spMkLst>
            <pc:docMk/>
            <pc:sldMk cId="3473404508" sldId="410"/>
            <ac:spMk id="161" creationId="{D531E052-9460-471B-8B21-D8E902E064A4}"/>
          </ac:spMkLst>
        </pc:spChg>
        <pc:spChg chg="del">
          <ac:chgData name="Mahadik, Swapnil" userId="19632102-dd35-4a48-ad40-2629b84948af" providerId="ADAL" clId="{C9F6A83A-69CC-4EB1-B774-42E975C6A3A3}" dt="2019-08-12T03:37:09.844" v="133" actId="478"/>
          <ac:spMkLst>
            <pc:docMk/>
            <pc:sldMk cId="3473404508" sldId="410"/>
            <ac:spMk id="163" creationId="{47B63101-A762-40BC-B803-DC7B63F9B8B7}"/>
          </ac:spMkLst>
        </pc:spChg>
        <pc:spChg chg="del">
          <ac:chgData name="Mahadik, Swapnil" userId="19632102-dd35-4a48-ad40-2629b84948af" providerId="ADAL" clId="{C9F6A83A-69CC-4EB1-B774-42E975C6A3A3}" dt="2019-08-12T03:37:05.079" v="132" actId="478"/>
          <ac:spMkLst>
            <pc:docMk/>
            <pc:sldMk cId="3473404508" sldId="410"/>
            <ac:spMk id="164" creationId="{2412F25B-FF76-4787-B025-F5C70E05A4BE}"/>
          </ac:spMkLst>
        </pc:spChg>
        <pc:spChg chg="del">
          <ac:chgData name="Mahadik, Swapnil" userId="19632102-dd35-4a48-ad40-2629b84948af" providerId="ADAL" clId="{C9F6A83A-69CC-4EB1-B774-42E975C6A3A3}" dt="2019-08-12T03:36:24.818" v="118" actId="478"/>
          <ac:spMkLst>
            <pc:docMk/>
            <pc:sldMk cId="3473404508" sldId="410"/>
            <ac:spMk id="165" creationId="{BDA1D654-DC3D-4E7F-9820-D96E927C7613}"/>
          </ac:spMkLst>
        </pc:spChg>
        <pc:spChg chg="del">
          <ac:chgData name="Mahadik, Swapnil" userId="19632102-dd35-4a48-ad40-2629b84948af" providerId="ADAL" clId="{C9F6A83A-69CC-4EB1-B774-42E975C6A3A3}" dt="2019-08-12T03:36:37.294" v="124" actId="478"/>
          <ac:spMkLst>
            <pc:docMk/>
            <pc:sldMk cId="3473404508" sldId="410"/>
            <ac:spMk id="166" creationId="{CBCBDAE2-5683-459A-BAF3-90EE54F7E788}"/>
          </ac:spMkLst>
        </pc:spChg>
        <pc:spChg chg="del mod">
          <ac:chgData name="Mahadik, Swapnil" userId="19632102-dd35-4a48-ad40-2629b84948af" providerId="ADAL" clId="{C9F6A83A-69CC-4EB1-B774-42E975C6A3A3}" dt="2019-08-12T03:36:31.869" v="122" actId="478"/>
          <ac:spMkLst>
            <pc:docMk/>
            <pc:sldMk cId="3473404508" sldId="410"/>
            <ac:spMk id="167" creationId="{EC3BAB1F-485B-4AC2-9FD6-62DB9703C285}"/>
          </ac:spMkLst>
        </pc:spChg>
        <pc:spChg chg="del mod">
          <ac:chgData name="Mahadik, Swapnil" userId="19632102-dd35-4a48-ad40-2629b84948af" providerId="ADAL" clId="{C9F6A83A-69CC-4EB1-B774-42E975C6A3A3}" dt="2019-08-12T03:36:40.328" v="126" actId="478"/>
          <ac:spMkLst>
            <pc:docMk/>
            <pc:sldMk cId="3473404508" sldId="410"/>
            <ac:spMk id="168" creationId="{68D45633-231D-4404-AACC-2C49FAFBC232}"/>
          </ac:spMkLst>
        </pc:spChg>
        <pc:spChg chg="del">
          <ac:chgData name="Mahadik, Swapnil" userId="19632102-dd35-4a48-ad40-2629b84948af" providerId="ADAL" clId="{C9F6A83A-69CC-4EB1-B774-42E975C6A3A3}" dt="2019-08-12T03:36:42.088" v="127" actId="478"/>
          <ac:spMkLst>
            <pc:docMk/>
            <pc:sldMk cId="3473404508" sldId="410"/>
            <ac:spMk id="169" creationId="{FB8AA5C9-F6DB-444E-817B-5059AB4BAB58}"/>
          </ac:spMkLst>
        </pc:spChg>
        <pc:spChg chg="del">
          <ac:chgData name="Mahadik, Swapnil" userId="19632102-dd35-4a48-ad40-2629b84948af" providerId="ADAL" clId="{C9F6A83A-69CC-4EB1-B774-42E975C6A3A3}" dt="2019-08-12T03:36:43.918" v="128" actId="478"/>
          <ac:spMkLst>
            <pc:docMk/>
            <pc:sldMk cId="3473404508" sldId="410"/>
            <ac:spMk id="170" creationId="{CAF60416-C2D5-47B7-8D21-C46BCEB1D509}"/>
          </ac:spMkLst>
        </pc:spChg>
        <pc:spChg chg="del">
          <ac:chgData name="Mahadik, Swapnil" userId="19632102-dd35-4a48-ad40-2629b84948af" providerId="ADAL" clId="{C9F6A83A-69CC-4EB1-B774-42E975C6A3A3}" dt="2019-08-12T03:36:45.655" v="129" actId="478"/>
          <ac:spMkLst>
            <pc:docMk/>
            <pc:sldMk cId="3473404508" sldId="410"/>
            <ac:spMk id="173" creationId="{0F7A3D3A-5E11-4412-8DEE-5A86FC1B429C}"/>
          </ac:spMkLst>
        </pc:spChg>
        <pc:spChg chg="del mod">
          <ac:chgData name="Mahadik, Swapnil" userId="19632102-dd35-4a48-ad40-2629b84948af" providerId="ADAL" clId="{C9F6A83A-69CC-4EB1-B774-42E975C6A3A3}" dt="2019-08-12T03:37:27.544" v="147" actId="478"/>
          <ac:spMkLst>
            <pc:docMk/>
            <pc:sldMk cId="3473404508" sldId="410"/>
            <ac:spMk id="175" creationId="{01F52235-CC6D-42E6-8581-5129E80467AE}"/>
          </ac:spMkLst>
        </pc:spChg>
        <pc:spChg chg="del">
          <ac:chgData name="Mahadik, Swapnil" userId="19632102-dd35-4a48-ad40-2629b84948af" providerId="ADAL" clId="{C9F6A83A-69CC-4EB1-B774-42E975C6A3A3}" dt="2019-08-12T03:37:14.078" v="135" actId="478"/>
          <ac:spMkLst>
            <pc:docMk/>
            <pc:sldMk cId="3473404508" sldId="410"/>
            <ac:spMk id="176" creationId="{1F2D300D-9372-407C-ACF5-D15E499A5411}"/>
          </ac:spMkLst>
        </pc:spChg>
        <pc:spChg chg="del">
          <ac:chgData name="Mahadik, Swapnil" userId="19632102-dd35-4a48-ad40-2629b84948af" providerId="ADAL" clId="{C9F6A83A-69CC-4EB1-B774-42E975C6A3A3}" dt="2019-08-12T03:37:24.042" v="142" actId="478"/>
          <ac:spMkLst>
            <pc:docMk/>
            <pc:sldMk cId="3473404508" sldId="410"/>
            <ac:spMk id="177" creationId="{78FDD95A-42D4-42DA-A3AE-F321A2D226B5}"/>
          </ac:spMkLst>
        </pc:spChg>
        <pc:spChg chg="del">
          <ac:chgData name="Mahadik, Swapnil" userId="19632102-dd35-4a48-ad40-2629b84948af" providerId="ADAL" clId="{C9F6A83A-69CC-4EB1-B774-42E975C6A3A3}" dt="2019-08-12T03:37:19.590" v="139" actId="478"/>
          <ac:spMkLst>
            <pc:docMk/>
            <pc:sldMk cId="3473404508" sldId="410"/>
            <ac:spMk id="178" creationId="{EBE547CA-62F4-43AF-B7E1-12A5F39B5779}"/>
          </ac:spMkLst>
        </pc:spChg>
        <pc:spChg chg="del">
          <ac:chgData name="Mahadik, Swapnil" userId="19632102-dd35-4a48-ad40-2629b84948af" providerId="ADAL" clId="{C9F6A83A-69CC-4EB1-B774-42E975C6A3A3}" dt="2019-08-12T03:37:17.051" v="137" actId="478"/>
          <ac:spMkLst>
            <pc:docMk/>
            <pc:sldMk cId="3473404508" sldId="410"/>
            <ac:spMk id="179" creationId="{3A5ACD23-6815-48E1-9284-4D1B2B5C14DA}"/>
          </ac:spMkLst>
        </pc:spChg>
        <pc:spChg chg="del">
          <ac:chgData name="Mahadik, Swapnil" userId="19632102-dd35-4a48-ad40-2629b84948af" providerId="ADAL" clId="{C9F6A83A-69CC-4EB1-B774-42E975C6A3A3}" dt="2019-08-12T03:37:18.358" v="138" actId="478"/>
          <ac:spMkLst>
            <pc:docMk/>
            <pc:sldMk cId="3473404508" sldId="410"/>
            <ac:spMk id="180" creationId="{3674B632-06D5-48AB-A9C6-0F0BF70B3C07}"/>
          </ac:spMkLst>
        </pc:spChg>
        <pc:spChg chg="del">
          <ac:chgData name="Mahadik, Swapnil" userId="19632102-dd35-4a48-ad40-2629b84948af" providerId="ADAL" clId="{C9F6A83A-69CC-4EB1-B774-42E975C6A3A3}" dt="2019-08-12T03:37:22.915" v="141" actId="478"/>
          <ac:spMkLst>
            <pc:docMk/>
            <pc:sldMk cId="3473404508" sldId="410"/>
            <ac:spMk id="181" creationId="{8A8F135E-AF40-40CD-9099-4CCF9442EFD2}"/>
          </ac:spMkLst>
        </pc:spChg>
        <pc:spChg chg="del">
          <ac:chgData name="Mahadik, Swapnil" userId="19632102-dd35-4a48-ad40-2629b84948af" providerId="ADAL" clId="{C9F6A83A-69CC-4EB1-B774-42E975C6A3A3}" dt="2019-08-12T03:37:21.547" v="140" actId="478"/>
          <ac:spMkLst>
            <pc:docMk/>
            <pc:sldMk cId="3473404508" sldId="410"/>
            <ac:spMk id="182" creationId="{B9988CC6-A7E2-42A8-A23B-26B2B551B35D}"/>
          </ac:spMkLst>
        </pc:spChg>
        <pc:spChg chg="del">
          <ac:chgData name="Mahadik, Swapnil" userId="19632102-dd35-4a48-ad40-2629b84948af" providerId="ADAL" clId="{C9F6A83A-69CC-4EB1-B774-42E975C6A3A3}" dt="2019-08-12T03:37:29.098" v="148" actId="478"/>
          <ac:spMkLst>
            <pc:docMk/>
            <pc:sldMk cId="3473404508" sldId="410"/>
            <ac:spMk id="183" creationId="{12A16F0B-FFE8-4D85-ABA2-2863933119D0}"/>
          </ac:spMkLst>
        </pc:spChg>
        <pc:spChg chg="del">
          <ac:chgData name="Mahadik, Swapnil" userId="19632102-dd35-4a48-ad40-2629b84948af" providerId="ADAL" clId="{C9F6A83A-69CC-4EB1-B774-42E975C6A3A3}" dt="2019-08-12T03:37:36.283" v="154" actId="478"/>
          <ac:spMkLst>
            <pc:docMk/>
            <pc:sldMk cId="3473404508" sldId="410"/>
            <ac:spMk id="184" creationId="{4EC6AF2C-8198-4EFC-95CF-8AA9480CE80A}"/>
          </ac:spMkLst>
        </pc:spChg>
        <pc:spChg chg="del mod">
          <ac:chgData name="Mahadik, Swapnil" userId="19632102-dd35-4a48-ad40-2629b84948af" providerId="ADAL" clId="{C9F6A83A-69CC-4EB1-B774-42E975C6A3A3}" dt="2019-08-12T03:36:17.137" v="114" actId="478"/>
          <ac:spMkLst>
            <pc:docMk/>
            <pc:sldMk cId="3473404508" sldId="410"/>
            <ac:spMk id="185" creationId="{FF90F372-195A-4A96-8D38-EB7CD32DC66E}"/>
          </ac:spMkLst>
        </pc:spChg>
      </pc:sldChg>
      <pc:sldChg chg="modSp add">
        <pc:chgData name="Mahadik, Swapnil" userId="19632102-dd35-4a48-ad40-2629b84948af" providerId="ADAL" clId="{C9F6A83A-69CC-4EB1-B774-42E975C6A3A3}" dt="2019-08-12T05:05:40.191" v="1469" actId="20577"/>
        <pc:sldMkLst>
          <pc:docMk/>
          <pc:sldMk cId="3323571663" sldId="411"/>
        </pc:sldMkLst>
        <pc:spChg chg="mod">
          <ac:chgData name="Mahadik, Swapnil" userId="19632102-dd35-4a48-ad40-2629b84948af" providerId="ADAL" clId="{C9F6A83A-69CC-4EB1-B774-42E975C6A3A3}" dt="2019-08-12T05:05:20.596" v="1451" actId="20577"/>
          <ac:spMkLst>
            <pc:docMk/>
            <pc:sldMk cId="3323571663" sldId="411"/>
            <ac:spMk id="11" creationId="{D8A7950A-E51E-439E-8DDB-43F414AC63F8}"/>
          </ac:spMkLst>
        </pc:spChg>
        <pc:spChg chg="mod">
          <ac:chgData name="Mahadik, Swapnil" userId="19632102-dd35-4a48-ad40-2629b84948af" providerId="ADAL" clId="{C9F6A83A-69CC-4EB1-B774-42E975C6A3A3}" dt="2019-08-12T05:05:01.216" v="1447" actId="6549"/>
          <ac:spMkLst>
            <pc:docMk/>
            <pc:sldMk cId="3323571663" sldId="411"/>
            <ac:spMk id="23" creationId="{74449B5E-B8FE-4D66-AC0D-F7D091E809B3}"/>
          </ac:spMkLst>
        </pc:spChg>
        <pc:spChg chg="mod">
          <ac:chgData name="Mahadik, Swapnil" userId="19632102-dd35-4a48-ad40-2629b84948af" providerId="ADAL" clId="{C9F6A83A-69CC-4EB1-B774-42E975C6A3A3}" dt="2019-08-12T05:05:40.191" v="1469" actId="20577"/>
          <ac:spMkLst>
            <pc:docMk/>
            <pc:sldMk cId="3323571663" sldId="411"/>
            <ac:spMk id="130" creationId="{3C010611-6961-4A0C-9BF4-863B05222D1F}"/>
          </ac:spMkLst>
        </pc:spChg>
      </pc:sldChg>
      <pc:sldChg chg="add del ord">
        <pc:chgData name="Mahadik, Swapnil" userId="19632102-dd35-4a48-ad40-2629b84948af" providerId="ADAL" clId="{C9F6A83A-69CC-4EB1-B774-42E975C6A3A3}" dt="2019-08-12T03:35:50.954" v="84" actId="2696"/>
        <pc:sldMkLst>
          <pc:docMk/>
          <pc:sldMk cId="3392177443" sldId="411"/>
        </pc:sldMkLst>
      </pc:sldChg>
      <pc:sldChg chg="addSp delSp modSp add">
        <pc:chgData name="Mahadik, Swapnil" userId="19632102-dd35-4a48-ad40-2629b84948af" providerId="ADAL" clId="{C9F6A83A-69CC-4EB1-B774-42E975C6A3A3}" dt="2019-08-12T04:25:47.878" v="1318" actId="6549"/>
        <pc:sldMkLst>
          <pc:docMk/>
          <pc:sldMk cId="2698476318" sldId="412"/>
        </pc:sldMkLst>
        <pc:spChg chg="mod">
          <ac:chgData name="Mahadik, Swapnil" userId="19632102-dd35-4a48-ad40-2629b84948af" providerId="ADAL" clId="{C9F6A83A-69CC-4EB1-B774-42E975C6A3A3}" dt="2019-08-12T04:21:55.494" v="1251" actId="1035"/>
          <ac:spMkLst>
            <pc:docMk/>
            <pc:sldMk cId="2698476318" sldId="412"/>
            <ac:spMk id="2" creationId="{12D0E2A9-338A-49ED-A84B-A137F05B2D00}"/>
          </ac:spMkLst>
        </pc:spChg>
        <pc:spChg chg="add mod">
          <ac:chgData name="Mahadik, Swapnil" userId="19632102-dd35-4a48-ad40-2629b84948af" providerId="ADAL" clId="{C9F6A83A-69CC-4EB1-B774-42E975C6A3A3}" dt="2019-08-12T04:25:47.878" v="1318" actId="6549"/>
          <ac:spMkLst>
            <pc:docMk/>
            <pc:sldMk cId="2698476318" sldId="412"/>
            <ac:spMk id="7" creationId="{3118941D-16C8-442D-BD76-D6DF06476E56}"/>
          </ac:spMkLst>
        </pc:spChg>
        <pc:spChg chg="del mod">
          <ac:chgData name="Mahadik, Swapnil" userId="19632102-dd35-4a48-ad40-2629b84948af" providerId="ADAL" clId="{C9F6A83A-69CC-4EB1-B774-42E975C6A3A3}" dt="2019-08-12T04:08:43.171" v="1089" actId="478"/>
          <ac:spMkLst>
            <pc:docMk/>
            <pc:sldMk cId="2698476318" sldId="412"/>
            <ac:spMk id="26" creationId="{8819DC07-FB40-4ACC-8A6E-CD2B974DB38B}"/>
          </ac:spMkLst>
        </pc:spChg>
        <pc:spChg chg="del mod">
          <ac:chgData name="Mahadik, Swapnil" userId="19632102-dd35-4a48-ad40-2629b84948af" providerId="ADAL" clId="{C9F6A83A-69CC-4EB1-B774-42E975C6A3A3}" dt="2019-08-12T04:08:48.200" v="1092" actId="478"/>
          <ac:spMkLst>
            <pc:docMk/>
            <pc:sldMk cId="2698476318" sldId="412"/>
            <ac:spMk id="47" creationId="{E903FB25-365C-4B74-B281-E4B6E624546E}"/>
          </ac:spMkLst>
        </pc:spChg>
        <pc:spChg chg="add del">
          <ac:chgData name="Mahadik, Swapnil" userId="19632102-dd35-4a48-ad40-2629b84948af" providerId="ADAL" clId="{C9F6A83A-69CC-4EB1-B774-42E975C6A3A3}" dt="2019-08-12T04:09:01.932" v="1099" actId="478"/>
          <ac:spMkLst>
            <pc:docMk/>
            <pc:sldMk cId="2698476318" sldId="412"/>
            <ac:spMk id="48" creationId="{31DE0A5D-52F8-475A-AA8A-85576EE02183}"/>
          </ac:spMkLst>
        </pc:spChg>
      </pc:sldChg>
      <pc:sldChg chg="addSp delSp modSp add">
        <pc:chgData name="Mahadik, Swapnil" userId="19632102-dd35-4a48-ad40-2629b84948af" providerId="ADAL" clId="{C9F6A83A-69CC-4EB1-B774-42E975C6A3A3}" dt="2019-08-12T05:07:57.390" v="1493" actId="20577"/>
        <pc:sldMkLst>
          <pc:docMk/>
          <pc:sldMk cId="1022069025" sldId="413"/>
        </pc:sldMkLst>
        <pc:spChg chg="del">
          <ac:chgData name="Mahadik, Swapnil" userId="19632102-dd35-4a48-ad40-2629b84948af" providerId="ADAL" clId="{C9F6A83A-69CC-4EB1-B774-42E975C6A3A3}" dt="2019-08-12T04:27:05.052" v="1320" actId="478"/>
          <ac:spMkLst>
            <pc:docMk/>
            <pc:sldMk cId="1022069025" sldId="413"/>
            <ac:spMk id="2" creationId="{12D0E2A9-338A-49ED-A84B-A137F05B2D00}"/>
          </ac:spMkLst>
        </pc:spChg>
        <pc:spChg chg="add del">
          <ac:chgData name="Mahadik, Swapnil" userId="19632102-dd35-4a48-ad40-2629b84948af" providerId="ADAL" clId="{C9F6A83A-69CC-4EB1-B774-42E975C6A3A3}" dt="2019-08-12T04:27:18.866" v="1375"/>
          <ac:spMkLst>
            <pc:docMk/>
            <pc:sldMk cId="1022069025" sldId="413"/>
            <ac:spMk id="5" creationId="{F58510D8-9982-4844-863C-794F6046AC88}"/>
          </ac:spMkLst>
        </pc:spChg>
        <pc:spChg chg="mod">
          <ac:chgData name="Mahadik, Swapnil" userId="19632102-dd35-4a48-ad40-2629b84948af" providerId="ADAL" clId="{C9F6A83A-69CC-4EB1-B774-42E975C6A3A3}" dt="2019-08-12T05:07:57.390" v="1493" actId="20577"/>
          <ac:spMkLst>
            <pc:docMk/>
            <pc:sldMk cId="1022069025" sldId="413"/>
            <ac:spMk id="7" creationId="{3118941D-16C8-442D-BD76-D6DF06476E56}"/>
          </ac:spMkLst>
        </pc:spChg>
      </pc:sldChg>
    </pc:docChg>
  </pc:docChgLst>
  <pc:docChgLst>
    <pc:chgData name="Mahadik, Swapnil" userId="19632102-dd35-4a48-ad40-2629b84948af" providerId="ADAL" clId="{BCAD14B5-F141-4B1C-9146-087E5680031F}"/>
    <pc:docChg chg="modSld">
      <pc:chgData name="Mahadik, Swapnil" userId="19632102-dd35-4a48-ad40-2629b84948af" providerId="ADAL" clId="{BCAD14B5-F141-4B1C-9146-087E5680031F}" dt="2021-06-23T06:09:31.921" v="0" actId="1076"/>
      <pc:docMkLst>
        <pc:docMk/>
      </pc:docMkLst>
      <pc:sldChg chg="modSp mod">
        <pc:chgData name="Mahadik, Swapnil" userId="19632102-dd35-4a48-ad40-2629b84948af" providerId="ADAL" clId="{BCAD14B5-F141-4B1C-9146-087E5680031F}" dt="2021-06-23T06:09:31.921" v="0" actId="1076"/>
        <pc:sldMkLst>
          <pc:docMk/>
          <pc:sldMk cId="3473404508" sldId="410"/>
        </pc:sldMkLst>
        <pc:spChg chg="mod">
          <ac:chgData name="Mahadik, Swapnil" userId="19632102-dd35-4a48-ad40-2629b84948af" providerId="ADAL" clId="{BCAD14B5-F141-4B1C-9146-087E5680031F}" dt="2021-06-23T06:09:31.921" v="0" actId="1076"/>
          <ac:spMkLst>
            <pc:docMk/>
            <pc:sldMk cId="3473404508" sldId="410"/>
            <ac:spMk id="2" creationId="{12D0E2A9-338A-49ED-A84B-A137F05B2D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3169920" cy="481727"/>
          </a:xfrm>
          <a:prstGeom prst="rect">
            <a:avLst/>
          </a:prstGeom>
        </p:spPr>
        <p:txBody>
          <a:bodyPr vert="horz" lIns="96653" tIns="48327" rIns="96653" bIns="48327"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4143587" y="0"/>
            <a:ext cx="3169920" cy="481727"/>
          </a:xfrm>
          <a:prstGeom prst="rect">
            <a:avLst/>
          </a:prstGeom>
        </p:spPr>
        <p:txBody>
          <a:bodyPr vert="horz" lIns="96653" tIns="48327" rIns="96653" bIns="48327" rtlCol="0"/>
          <a:lstStyle>
            <a:lvl1pPr algn="r">
              <a:defRPr sz="1200"/>
            </a:lvl1pPr>
          </a:lstStyle>
          <a:p>
            <a:fld id="{86C988DC-9DE3-4390-97AB-D61B85DACE57}" type="datetimeFigureOut">
              <a:rPr lang="pt-PT" sz="900"/>
              <a:pPr/>
              <a:t>23/06/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119475"/>
            <a:ext cx="3169920" cy="481726"/>
          </a:xfrm>
          <a:prstGeom prst="rect">
            <a:avLst/>
          </a:prstGeom>
        </p:spPr>
        <p:txBody>
          <a:bodyPr vert="horz" lIns="96653" tIns="48327" rIns="96653" bIns="48327"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4143587" y="9119475"/>
            <a:ext cx="3169920" cy="481726"/>
          </a:xfrm>
          <a:prstGeom prst="rect">
            <a:avLst/>
          </a:prstGeom>
        </p:spPr>
        <p:txBody>
          <a:bodyPr vert="horz" lIns="96653" tIns="48327" rIns="96653" bIns="48327" rtlCol="0" anchor="b"/>
          <a:lstStyle>
            <a:lvl1pPr algn="r">
              <a:defRPr sz="1200"/>
            </a:lvl1pPr>
          </a:lstStyle>
          <a:p>
            <a:fld id="{2F190BF9-40D8-49B5-87EF-599BB2C7EE93}" type="slidenum">
              <a:rPr lang="pt-PT" sz="90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3169920" cy="481727"/>
          </a:xfrm>
          <a:prstGeom prst="rect">
            <a:avLst/>
          </a:prstGeom>
        </p:spPr>
        <p:txBody>
          <a:bodyPr vert="horz" lIns="96653" tIns="48327" rIns="96653" bIns="48327" rtlCol="0"/>
          <a:lstStyle>
            <a:lvl1pPr algn="l">
              <a:defRPr sz="900"/>
            </a:lvl1pPr>
          </a:lstStyle>
          <a:p>
            <a:endParaRPr lang="pt-BR"/>
          </a:p>
        </p:txBody>
      </p:sp>
      <p:sp>
        <p:nvSpPr>
          <p:cNvPr id="3" name="Marcador de Posição da Data 2"/>
          <p:cNvSpPr>
            <a:spLocks noGrp="1"/>
          </p:cNvSpPr>
          <p:nvPr>
            <p:ph type="dt" idx="1"/>
          </p:nvPr>
        </p:nvSpPr>
        <p:spPr>
          <a:xfrm>
            <a:off x="4143587" y="0"/>
            <a:ext cx="3169920" cy="481727"/>
          </a:xfrm>
          <a:prstGeom prst="rect">
            <a:avLst/>
          </a:prstGeom>
        </p:spPr>
        <p:txBody>
          <a:bodyPr vert="horz" lIns="96653" tIns="48327" rIns="96653" bIns="48327" rtlCol="0"/>
          <a:lstStyle>
            <a:lvl1pPr algn="r">
              <a:defRPr sz="900"/>
            </a:lvl1pPr>
          </a:lstStyle>
          <a:p>
            <a:fld id="{0835B8F7-DAC4-4931-8AED-4356A8B2FD64}" type="datetimeFigureOut">
              <a:rPr lang="pt-BR" smtClean="0"/>
              <a:pPr/>
              <a:t>23/06/2021</a:t>
            </a:fld>
            <a:endParaRPr lang="pt-BR"/>
          </a:p>
        </p:txBody>
      </p:sp>
      <p:sp>
        <p:nvSpPr>
          <p:cNvPr id="4" name="Marcador de Posição da Imagem do Diapositivo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53" tIns="48327" rIns="96653" bIns="48327" rtlCol="0" anchor="ctr"/>
          <a:lstStyle/>
          <a:p>
            <a:endParaRPr lang="pt-BR"/>
          </a:p>
        </p:txBody>
      </p:sp>
      <p:sp>
        <p:nvSpPr>
          <p:cNvPr id="5" name="Marcador de Posição de Notas 4"/>
          <p:cNvSpPr>
            <a:spLocks noGrp="1"/>
          </p:cNvSpPr>
          <p:nvPr>
            <p:ph type="body" sz="quarter" idx="3"/>
          </p:nvPr>
        </p:nvSpPr>
        <p:spPr>
          <a:xfrm>
            <a:off x="731520" y="4620577"/>
            <a:ext cx="5852160" cy="3780473"/>
          </a:xfrm>
          <a:prstGeom prst="rect">
            <a:avLst/>
          </a:prstGeom>
        </p:spPr>
        <p:txBody>
          <a:bodyPr vert="horz" lIns="96653" tIns="48327" rIns="96653" bIns="48327"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119475"/>
            <a:ext cx="3169920" cy="481726"/>
          </a:xfrm>
          <a:prstGeom prst="rect">
            <a:avLst/>
          </a:prstGeom>
        </p:spPr>
        <p:txBody>
          <a:bodyPr vert="horz" lIns="96653" tIns="48327" rIns="96653" bIns="48327"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4143587" y="9119475"/>
            <a:ext cx="3169920" cy="481726"/>
          </a:xfrm>
          <a:prstGeom prst="rect">
            <a:avLst/>
          </a:prstGeom>
        </p:spPr>
        <p:txBody>
          <a:bodyPr vert="horz" lIns="96653" tIns="48327" rIns="96653" bIns="48327"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33516244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13267492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18252877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6146055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2.png"/><Relationship Id="rId18" Type="http://schemas.openxmlformats.org/officeDocument/2006/relationships/hyperlink" Target="http://www.facebook.com/capgemini" TargetMode="External"/><Relationship Id="rId3" Type="http://schemas.openxmlformats.org/officeDocument/2006/relationships/tags" Target="../tags/tag13.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10.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2.xml"/><Relationship Id="rId16" Type="http://schemas.openxmlformats.org/officeDocument/2006/relationships/image" Target="../media/image13.png"/><Relationship Id="rId20" Type="http://schemas.microsoft.com/office/2007/relationships/hdphoto" Target="../media/hdphoto5.wdp"/><Relationship Id="rId1" Type="http://schemas.openxmlformats.org/officeDocument/2006/relationships/tags" Target="../tags/tag11.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1.png"/><Relationship Id="rId19" Type="http://schemas.openxmlformats.org/officeDocument/2006/relationships/image" Target="../media/image14.png"/><Relationship Id="rId4" Type="http://schemas.openxmlformats.org/officeDocument/2006/relationships/tags" Target="../tags/tag14.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dirty="0"/>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7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907344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1.xml"/><Relationship Id="rId7" Type="http://schemas.openxmlformats.org/officeDocument/2006/relationships/tags" Target="../tags/tag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4.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9.bin"/><Relationship Id="rId5" Type="http://schemas.openxmlformats.org/officeDocument/2006/relationships/tags" Target="../tags/tag10.xml"/><Relationship Id="rId4" Type="http://schemas.openxmlformats.org/officeDocument/2006/relationships/vmlDrawing" Target="../drawings/vmlDrawing9.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CHROME</a:t>
            </a:r>
            <a:r>
              <a:rPr lang="en-US" baseline="0" dirty="0">
                <a:solidFill>
                  <a:schemeClr val="bg1">
                    <a:lumMod val="65000"/>
                  </a:schemeClr>
                </a:solidFill>
              </a:rPr>
              <a:t> Overview</a:t>
            </a:r>
            <a:r>
              <a:rPr lang="en-US" dirty="0">
                <a:solidFill>
                  <a:schemeClr val="bg1">
                    <a:lumMod val="65000"/>
                  </a:schemeClr>
                </a:solidFill>
              </a:rPr>
              <a:t> | July</a:t>
            </a:r>
            <a:r>
              <a:rPr lang="en-US" baseline="0" dirty="0">
                <a:solidFill>
                  <a:schemeClr val="bg1">
                    <a:lumMod val="65000"/>
                  </a:schemeClr>
                </a:solidFill>
              </a:rPr>
              <a:t> 2018</a:t>
            </a:r>
            <a:endParaRPr lang="en-US"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pic>
        <p:nvPicPr>
          <p:cNvPr id="11" name="Picture 3" descr="D:\Users\prpatank\Documents\Year 2015\CHROME collaterals\Image files\CHROME Logo.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5491304" y="6527105"/>
            <a:ext cx="1209393" cy="3077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889"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en-US" dirty="0"/>
              <a:t>June 2019</a:t>
            </a:r>
          </a:p>
        </p:txBody>
      </p:sp>
      <p:sp>
        <p:nvSpPr>
          <p:cNvPr id="4" name="TextBox 3">
            <a:extLst>
              <a:ext uri="{FF2B5EF4-FFF2-40B4-BE49-F238E27FC236}">
                <a16:creationId xmlns:a16="http://schemas.microsoft.com/office/drawing/2014/main" id="{D24FF26F-C235-4BC9-B24A-2407F7AE64BB}"/>
              </a:ext>
            </a:extLst>
          </p:cNvPr>
          <p:cNvSpPr txBox="1"/>
          <p:nvPr/>
        </p:nvSpPr>
        <p:spPr>
          <a:xfrm>
            <a:off x="484510" y="1143000"/>
            <a:ext cx="4621212" cy="923330"/>
          </a:xfrm>
          <a:prstGeom prst="rect">
            <a:avLst/>
          </a:prstGeom>
          <a:noFill/>
        </p:spPr>
        <p:txBody>
          <a:bodyPr wrap="square" rtlCol="0">
            <a:spAutoFit/>
          </a:bodyPr>
          <a:lstStyle>
            <a:defPPr>
              <a:defRPr lang="pt-PT"/>
            </a:defPPr>
            <a:lvl1pPr>
              <a:defRPr b="1">
                <a:solidFill>
                  <a:schemeClr val="accent2">
                    <a:lumMod val="75000"/>
                  </a:schemeClr>
                </a:solidFill>
              </a:defRPr>
            </a:lvl1pPr>
          </a:lstStyle>
          <a:p>
            <a:r>
              <a:rPr lang="en-US" dirty="0"/>
              <a:t>Innovation Theater </a:t>
            </a:r>
          </a:p>
          <a:p>
            <a:endParaRPr lang="en-US" dirty="0"/>
          </a:p>
          <a:p>
            <a:r>
              <a:rPr lang="en-US" dirty="0"/>
              <a:t>Asset Reviewing Process by Board</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8819DC07-FB40-4ACC-8A6E-CD2B974DB38B}"/>
              </a:ext>
            </a:extLst>
          </p:cNvPr>
          <p:cNvSpPr>
            <a:spLocks noGrp="1"/>
          </p:cNvSpPr>
          <p:nvPr>
            <p:ph type="title" idx="4294967295"/>
          </p:nvPr>
        </p:nvSpPr>
        <p:spPr>
          <a:xfrm>
            <a:off x="247650" y="203835"/>
            <a:ext cx="11153775" cy="1104900"/>
          </a:xfrm>
        </p:spPr>
        <p:txBody>
          <a:bodyPr/>
          <a:lstStyle/>
          <a:p>
            <a:r>
              <a:rPr lang="en-US" dirty="0"/>
              <a:t>Innovation Theater Board (ITB)</a:t>
            </a:r>
          </a:p>
        </p:txBody>
      </p:sp>
      <p:sp>
        <p:nvSpPr>
          <p:cNvPr id="19" name="TextBox 18">
            <a:extLst>
              <a:ext uri="{FF2B5EF4-FFF2-40B4-BE49-F238E27FC236}">
                <a16:creationId xmlns:a16="http://schemas.microsoft.com/office/drawing/2014/main" id="{1E931233-6FC2-41A4-B21D-06DDEC2DA6A1}"/>
              </a:ext>
            </a:extLst>
          </p:cNvPr>
          <p:cNvSpPr txBox="1"/>
          <p:nvPr/>
        </p:nvSpPr>
        <p:spPr>
          <a:xfrm>
            <a:off x="240004" y="6473397"/>
            <a:ext cx="6770917" cy="369332"/>
          </a:xfrm>
          <a:prstGeom prst="rect">
            <a:avLst/>
          </a:prstGeom>
          <a:solidFill>
            <a:schemeClr val="bg1"/>
          </a:solidFill>
        </p:spPr>
        <p:txBody>
          <a:bodyPr wrap="square" rtlCol="0">
            <a:spAutoFit/>
          </a:bodyPr>
          <a:lstStyle/>
          <a:p>
            <a:endParaRPr lang="en-US" dirty="0"/>
          </a:p>
        </p:txBody>
      </p:sp>
      <p:sp>
        <p:nvSpPr>
          <p:cNvPr id="2" name="TextBox 1">
            <a:extLst>
              <a:ext uri="{FF2B5EF4-FFF2-40B4-BE49-F238E27FC236}">
                <a16:creationId xmlns:a16="http://schemas.microsoft.com/office/drawing/2014/main" id="{12D0E2A9-338A-49ED-A84B-A137F05B2D00}"/>
              </a:ext>
            </a:extLst>
          </p:cNvPr>
          <p:cNvSpPr txBox="1"/>
          <p:nvPr/>
        </p:nvSpPr>
        <p:spPr>
          <a:xfrm>
            <a:off x="990600" y="1206841"/>
            <a:ext cx="11394440" cy="1208584"/>
          </a:xfrm>
          <a:prstGeom prst="rect">
            <a:avLst/>
          </a:prstGeom>
          <a:noFill/>
        </p:spPr>
        <p:txBody>
          <a:bodyPr wrap="square" rtlCol="0">
            <a:spAutoFit/>
          </a:bodyPr>
          <a:lstStyle/>
          <a:p>
            <a:r>
              <a:rPr lang="en-US" dirty="0"/>
              <a:t>Innovation Theater Board (ITB) is a group of technical expertise with the responsibilities of reviewing Assets that are uploaded or edited by the Asset Owners.</a:t>
            </a:r>
          </a:p>
          <a:p>
            <a:endParaRPr lang="en-US" dirty="0"/>
          </a:p>
          <a:p>
            <a:endParaRPr lang="en-US" dirty="0"/>
          </a:p>
        </p:txBody>
      </p:sp>
      <p:sp>
        <p:nvSpPr>
          <p:cNvPr id="47" name="Title 25">
            <a:extLst>
              <a:ext uri="{FF2B5EF4-FFF2-40B4-BE49-F238E27FC236}">
                <a16:creationId xmlns:a16="http://schemas.microsoft.com/office/drawing/2014/main" id="{E903FB25-365C-4B74-B281-E4B6E624546E}"/>
              </a:ext>
            </a:extLst>
          </p:cNvPr>
          <p:cNvSpPr txBox="1">
            <a:spLocks/>
          </p:cNvSpPr>
          <p:nvPr/>
        </p:nvSpPr>
        <p:spPr>
          <a:xfrm>
            <a:off x="247650" y="2682875"/>
            <a:ext cx="11153775"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Asset Review </a:t>
            </a:r>
          </a:p>
        </p:txBody>
      </p:sp>
      <p:sp>
        <p:nvSpPr>
          <p:cNvPr id="48" name="TextBox 47">
            <a:extLst>
              <a:ext uri="{FF2B5EF4-FFF2-40B4-BE49-F238E27FC236}">
                <a16:creationId xmlns:a16="http://schemas.microsoft.com/office/drawing/2014/main" id="{31DE0A5D-52F8-475A-AA8A-85576EE02183}"/>
              </a:ext>
            </a:extLst>
          </p:cNvPr>
          <p:cNvSpPr txBox="1"/>
          <p:nvPr/>
        </p:nvSpPr>
        <p:spPr>
          <a:xfrm>
            <a:off x="162560" y="3403601"/>
            <a:ext cx="11394440" cy="1477328"/>
          </a:xfrm>
          <a:prstGeom prst="rect">
            <a:avLst/>
          </a:prstGeom>
          <a:noFill/>
        </p:spPr>
        <p:txBody>
          <a:bodyPr wrap="square" rtlCol="0">
            <a:spAutoFit/>
          </a:bodyPr>
          <a:lstStyle/>
          <a:p>
            <a:r>
              <a:rPr lang="en-US" dirty="0"/>
              <a:t>Asset Review is a bi-yearly exercise undertaken by the Innovation Theater Board to identify the current status of the Asset. The Asset Reviewing process to determines whether the Asset has met the objective set. </a:t>
            </a:r>
          </a:p>
          <a:p>
            <a:endParaRPr lang="en-US" dirty="0"/>
          </a:p>
          <a:p>
            <a:endParaRPr lang="en-US" dirty="0"/>
          </a:p>
        </p:txBody>
      </p:sp>
    </p:spTree>
    <p:extLst>
      <p:ext uri="{BB962C8B-B14F-4D97-AF65-F5344CB8AC3E}">
        <p14:creationId xmlns:p14="http://schemas.microsoft.com/office/powerpoint/2010/main" val="34734045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1E931233-6FC2-41A4-B21D-06DDEC2DA6A1}"/>
              </a:ext>
            </a:extLst>
          </p:cNvPr>
          <p:cNvSpPr txBox="1"/>
          <p:nvPr/>
        </p:nvSpPr>
        <p:spPr>
          <a:xfrm>
            <a:off x="240004" y="6473397"/>
            <a:ext cx="6770917" cy="369332"/>
          </a:xfrm>
          <a:prstGeom prst="rect">
            <a:avLst/>
          </a:prstGeom>
          <a:solidFill>
            <a:schemeClr val="bg1"/>
          </a:solidFill>
        </p:spPr>
        <p:txBody>
          <a:bodyPr wrap="square" rtlCol="0">
            <a:spAutoFit/>
          </a:bodyPr>
          <a:lstStyle/>
          <a:p>
            <a:endParaRPr lang="en-US" dirty="0"/>
          </a:p>
        </p:txBody>
      </p:sp>
      <p:sp>
        <p:nvSpPr>
          <p:cNvPr id="2" name="TextBox 1">
            <a:extLst>
              <a:ext uri="{FF2B5EF4-FFF2-40B4-BE49-F238E27FC236}">
                <a16:creationId xmlns:a16="http://schemas.microsoft.com/office/drawing/2014/main" id="{12D0E2A9-338A-49ED-A84B-A137F05B2D00}"/>
              </a:ext>
            </a:extLst>
          </p:cNvPr>
          <p:cNvSpPr txBox="1"/>
          <p:nvPr/>
        </p:nvSpPr>
        <p:spPr>
          <a:xfrm>
            <a:off x="213360" y="640081"/>
            <a:ext cx="11394440" cy="2585323"/>
          </a:xfrm>
          <a:prstGeom prst="rect">
            <a:avLst/>
          </a:prstGeom>
          <a:noFill/>
        </p:spPr>
        <p:txBody>
          <a:bodyPr wrap="square" rtlCol="0">
            <a:spAutoFit/>
          </a:bodyPr>
          <a:lstStyle/>
          <a:p>
            <a:r>
              <a:rPr lang="en-US" dirty="0"/>
              <a:t>The Asset Review helps us to :</a:t>
            </a:r>
          </a:p>
          <a:p>
            <a:endParaRPr lang="en-US" dirty="0"/>
          </a:p>
          <a:p>
            <a:pPr marL="285750" indent="-285750">
              <a:buFont typeface="Wingdings" panose="05000000000000000000" pitchFamily="2" charset="2"/>
              <a:buChar char="§"/>
            </a:pPr>
            <a:r>
              <a:rPr lang="en-US" dirty="0"/>
              <a:t>Determines the value attached to the Assets within the organization, as it affects the bottom line</a:t>
            </a:r>
          </a:p>
          <a:p>
            <a:pPr marL="285750" indent="-285750">
              <a:buFont typeface="Wingdings" panose="05000000000000000000" pitchFamily="2" charset="2"/>
              <a:buChar char="§"/>
            </a:pPr>
            <a:r>
              <a:rPr lang="en-US" dirty="0"/>
              <a:t>Monitors asset circulation and use of the assets to ensure there are enough to execute the business functions of the organization</a:t>
            </a:r>
          </a:p>
          <a:p>
            <a:pPr marL="285750" indent="-285750">
              <a:buFont typeface="Wingdings" panose="05000000000000000000" pitchFamily="2" charset="2"/>
              <a:buChar char="§"/>
            </a:pPr>
            <a:r>
              <a:rPr lang="en-US" dirty="0"/>
              <a:t>Creates a reliable source of accurate data to make informed decisions</a:t>
            </a:r>
          </a:p>
          <a:p>
            <a:endParaRPr lang="en-US" dirty="0"/>
          </a:p>
          <a:p>
            <a:endParaRPr lang="en-US" dirty="0"/>
          </a:p>
        </p:txBody>
      </p:sp>
      <p:sp>
        <p:nvSpPr>
          <p:cNvPr id="7" name="TextBox 6">
            <a:extLst>
              <a:ext uri="{FF2B5EF4-FFF2-40B4-BE49-F238E27FC236}">
                <a16:creationId xmlns:a16="http://schemas.microsoft.com/office/drawing/2014/main" id="{3118941D-16C8-442D-BD76-D6DF06476E56}"/>
              </a:ext>
            </a:extLst>
          </p:cNvPr>
          <p:cNvSpPr txBox="1"/>
          <p:nvPr/>
        </p:nvSpPr>
        <p:spPr>
          <a:xfrm>
            <a:off x="203200" y="3657600"/>
            <a:ext cx="11394440" cy="2585323"/>
          </a:xfrm>
          <a:prstGeom prst="rect">
            <a:avLst/>
          </a:prstGeom>
          <a:noFill/>
        </p:spPr>
        <p:txBody>
          <a:bodyPr wrap="square" rtlCol="0">
            <a:spAutoFit/>
          </a:bodyPr>
          <a:lstStyle/>
          <a:p>
            <a:r>
              <a:rPr lang="en-US" dirty="0"/>
              <a:t>Benefits of The Asset Review process :</a:t>
            </a:r>
          </a:p>
          <a:p>
            <a:endParaRPr lang="en-US" dirty="0"/>
          </a:p>
          <a:p>
            <a:r>
              <a:rPr lang="en-US" b="1" dirty="0"/>
              <a:t>1. Track The Complete Asset Lifecycle</a:t>
            </a:r>
            <a:endParaRPr lang="en-US" dirty="0"/>
          </a:p>
          <a:p>
            <a:r>
              <a:rPr lang="en-US" dirty="0"/>
              <a:t>One of the main processes of Asset Management is tracking the complete lifecycle of your assets. This includes </a:t>
            </a:r>
            <a:r>
              <a:rPr lang="en-US" b="1" dirty="0"/>
              <a:t>request for a new asset, management approval, procurement, provisioning, recycling, and retirement</a:t>
            </a:r>
            <a:r>
              <a:rPr lang="en-US" dirty="0"/>
              <a:t>. Managing every part of the asset lifecycle assist Business with providing asset owner keeps them informed to make the right decisions.</a:t>
            </a:r>
          </a:p>
          <a:p>
            <a:endParaRPr lang="en-US" dirty="0"/>
          </a:p>
          <a:p>
            <a:endParaRPr lang="en-US" dirty="0"/>
          </a:p>
        </p:txBody>
      </p:sp>
    </p:spTree>
    <p:extLst>
      <p:ext uri="{BB962C8B-B14F-4D97-AF65-F5344CB8AC3E}">
        <p14:creationId xmlns:p14="http://schemas.microsoft.com/office/powerpoint/2010/main" val="26984763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1E931233-6FC2-41A4-B21D-06DDEC2DA6A1}"/>
              </a:ext>
            </a:extLst>
          </p:cNvPr>
          <p:cNvSpPr txBox="1"/>
          <p:nvPr/>
        </p:nvSpPr>
        <p:spPr>
          <a:xfrm>
            <a:off x="240004" y="6473397"/>
            <a:ext cx="6770917" cy="369332"/>
          </a:xfrm>
          <a:prstGeom prst="rect">
            <a:avLst/>
          </a:prstGeom>
          <a:solidFill>
            <a:schemeClr val="bg1"/>
          </a:solidFill>
        </p:spPr>
        <p:txBody>
          <a:bodyPr wrap="square" rtlCol="0">
            <a:spAutoFit/>
          </a:bodyPr>
          <a:lstStyle/>
          <a:p>
            <a:endParaRPr lang="en-US" dirty="0"/>
          </a:p>
        </p:txBody>
      </p:sp>
      <p:sp>
        <p:nvSpPr>
          <p:cNvPr id="7" name="TextBox 6">
            <a:extLst>
              <a:ext uri="{FF2B5EF4-FFF2-40B4-BE49-F238E27FC236}">
                <a16:creationId xmlns:a16="http://schemas.microsoft.com/office/drawing/2014/main" id="{3118941D-16C8-442D-BD76-D6DF06476E56}"/>
              </a:ext>
            </a:extLst>
          </p:cNvPr>
          <p:cNvSpPr txBox="1"/>
          <p:nvPr/>
        </p:nvSpPr>
        <p:spPr>
          <a:xfrm>
            <a:off x="203200" y="762000"/>
            <a:ext cx="11394440" cy="4524315"/>
          </a:xfrm>
          <a:prstGeom prst="rect">
            <a:avLst/>
          </a:prstGeom>
          <a:noFill/>
        </p:spPr>
        <p:txBody>
          <a:bodyPr wrap="square" rtlCol="0">
            <a:spAutoFit/>
          </a:bodyPr>
          <a:lstStyle/>
          <a:p>
            <a:r>
              <a:rPr lang="en-US" b="1" dirty="0"/>
              <a:t>2. Know Who Has What</a:t>
            </a:r>
          </a:p>
          <a:p>
            <a:endParaRPr lang="en-US" dirty="0"/>
          </a:p>
          <a:p>
            <a:r>
              <a:rPr lang="en-US" dirty="0"/>
              <a:t>For accountability reasons and tracking purposes, this allows ITB to closely monitor the assets for when they need repairs, upgrades or replacement. This proactive approach extends their lifetime value and helps monitor their depreciation. This is also a great security measure for when asst owner leave the organization.</a:t>
            </a:r>
          </a:p>
          <a:p>
            <a:endParaRPr lang="en-US" dirty="0"/>
          </a:p>
          <a:p>
            <a:endParaRPr lang="en-US" dirty="0"/>
          </a:p>
          <a:p>
            <a:r>
              <a:rPr lang="en-US" b="1" dirty="0"/>
              <a:t>3. Asset Location Tracking</a:t>
            </a:r>
          </a:p>
          <a:p>
            <a:endParaRPr lang="en-US" dirty="0"/>
          </a:p>
          <a:p>
            <a:r>
              <a:rPr lang="en-US" dirty="0"/>
              <a:t>A great part of an ITB strategy is </a:t>
            </a:r>
            <a:r>
              <a:rPr lang="en-US" b="1" dirty="0"/>
              <a:t>locating your assets, geographically.</a:t>
            </a:r>
            <a:r>
              <a:rPr lang="en-US" dirty="0"/>
              <a:t> Although hard to do manually, an ITB can easily track where your assets are located across the organization’s locations. It is especially beneficial when an organization operates in multiple cities / Business Units / AIEs. </a:t>
            </a:r>
          </a:p>
          <a:p>
            <a:endParaRPr lang="en-US" dirty="0"/>
          </a:p>
          <a:p>
            <a:endParaRPr lang="en-US" dirty="0"/>
          </a:p>
        </p:txBody>
      </p:sp>
    </p:spTree>
    <p:extLst>
      <p:ext uri="{BB962C8B-B14F-4D97-AF65-F5344CB8AC3E}">
        <p14:creationId xmlns:p14="http://schemas.microsoft.com/office/powerpoint/2010/main" val="10220690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19965CFC-4BA9-45B8-8EBC-8B0637400908}"/>
              </a:ext>
            </a:extLst>
          </p:cNvPr>
          <p:cNvSpPr/>
          <p:nvPr/>
        </p:nvSpPr>
        <p:spPr>
          <a:xfrm>
            <a:off x="2057400" y="152400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7" name="Flowchart: Process 156">
            <a:extLst>
              <a:ext uri="{FF2B5EF4-FFF2-40B4-BE49-F238E27FC236}">
                <a16:creationId xmlns:a16="http://schemas.microsoft.com/office/drawing/2014/main" id="{8B06E5A9-C221-4084-A2E2-1D450FD26B4D}"/>
              </a:ext>
            </a:extLst>
          </p:cNvPr>
          <p:cNvSpPr/>
          <p:nvPr/>
        </p:nvSpPr>
        <p:spPr>
          <a:xfrm>
            <a:off x="6181186" y="1762125"/>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6" name="Flowchart: Process 155">
            <a:extLst>
              <a:ext uri="{FF2B5EF4-FFF2-40B4-BE49-F238E27FC236}">
                <a16:creationId xmlns:a16="http://schemas.microsoft.com/office/drawing/2014/main" id="{B1B4454C-1DFC-4512-B6DF-F6FE8DAA386D}"/>
              </a:ext>
            </a:extLst>
          </p:cNvPr>
          <p:cNvSpPr/>
          <p:nvPr/>
        </p:nvSpPr>
        <p:spPr>
          <a:xfrm>
            <a:off x="4171411" y="175260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2" name="Flowchart: Process 11">
            <a:extLst>
              <a:ext uri="{FF2B5EF4-FFF2-40B4-BE49-F238E27FC236}">
                <a16:creationId xmlns:a16="http://schemas.microsoft.com/office/drawing/2014/main" id="{7B4A431D-85EF-468D-A872-EACB7EDE8DFA}"/>
              </a:ext>
            </a:extLst>
          </p:cNvPr>
          <p:cNvSpPr/>
          <p:nvPr/>
        </p:nvSpPr>
        <p:spPr>
          <a:xfrm>
            <a:off x="2161636" y="175260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25" name="Rectangle 24">
            <a:extLst>
              <a:ext uri="{FF2B5EF4-FFF2-40B4-BE49-F238E27FC236}">
                <a16:creationId xmlns:a16="http://schemas.microsoft.com/office/drawing/2014/main" id="{6D70F3F8-1108-4EE0-A2B2-37D24C3CA6AA}"/>
              </a:ext>
            </a:extLst>
          </p:cNvPr>
          <p:cNvSpPr/>
          <p:nvPr/>
        </p:nvSpPr>
        <p:spPr>
          <a:xfrm>
            <a:off x="491835" y="990600"/>
            <a:ext cx="11423940" cy="5435060"/>
          </a:xfrm>
          <a:prstGeom prst="rect">
            <a:avLst/>
          </a:prstGeom>
          <a:noFill/>
          <a:ln cmpd="sng">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FFFFFF"/>
                </a:solidFill>
                <a:effectLst/>
                <a:uLnTx/>
                <a:uFillTx/>
                <a:latin typeface="Verdana"/>
                <a:ea typeface="+mn-ea"/>
                <a:cs typeface="+mn-cs"/>
              </a:rPr>
              <a:t>  </a:t>
            </a:r>
          </a:p>
        </p:txBody>
      </p:sp>
      <p:sp>
        <p:nvSpPr>
          <p:cNvPr id="26" name="Title 25">
            <a:extLst>
              <a:ext uri="{FF2B5EF4-FFF2-40B4-BE49-F238E27FC236}">
                <a16:creationId xmlns:a16="http://schemas.microsoft.com/office/drawing/2014/main" id="{8819DC07-FB40-4ACC-8A6E-CD2B974DB38B}"/>
              </a:ext>
            </a:extLst>
          </p:cNvPr>
          <p:cNvSpPr>
            <a:spLocks noGrp="1"/>
          </p:cNvSpPr>
          <p:nvPr>
            <p:ph type="title" idx="4294967295"/>
          </p:nvPr>
        </p:nvSpPr>
        <p:spPr>
          <a:xfrm>
            <a:off x="247650" y="-273685"/>
            <a:ext cx="11153775" cy="1104900"/>
          </a:xfrm>
        </p:spPr>
        <p:txBody>
          <a:bodyPr/>
          <a:lstStyle/>
          <a:p>
            <a:r>
              <a:rPr lang="en-US" dirty="0"/>
              <a:t>Assets Reviewal Process (Bi Yearly)</a:t>
            </a:r>
          </a:p>
        </p:txBody>
      </p:sp>
      <p:sp>
        <p:nvSpPr>
          <p:cNvPr id="185" name="TextBox 184">
            <a:extLst>
              <a:ext uri="{FF2B5EF4-FFF2-40B4-BE49-F238E27FC236}">
                <a16:creationId xmlns:a16="http://schemas.microsoft.com/office/drawing/2014/main" id="{FF90F372-195A-4A96-8D38-EB7CD32DC66E}"/>
              </a:ext>
            </a:extLst>
          </p:cNvPr>
          <p:cNvSpPr txBox="1"/>
          <p:nvPr/>
        </p:nvSpPr>
        <p:spPr>
          <a:xfrm>
            <a:off x="1001483" y="873946"/>
            <a:ext cx="1187732"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prstClr val="black"/>
                </a:solidFill>
                <a:latin typeface="Verdana"/>
              </a:rPr>
              <a:t>Review Asset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TextBox 10">
            <a:extLst>
              <a:ext uri="{FF2B5EF4-FFF2-40B4-BE49-F238E27FC236}">
                <a16:creationId xmlns:a16="http://schemas.microsoft.com/office/drawing/2014/main" id="{D8A7950A-E51E-439E-8DDB-43F414AC63F8}"/>
              </a:ext>
            </a:extLst>
          </p:cNvPr>
          <p:cNvSpPr txBox="1"/>
          <p:nvPr/>
        </p:nvSpPr>
        <p:spPr>
          <a:xfrm>
            <a:off x="2181936" y="1831122"/>
            <a:ext cx="1539534" cy="338554"/>
          </a:xfrm>
          <a:prstGeom prst="rect">
            <a:avLst/>
          </a:prstGeom>
          <a:noFill/>
        </p:spPr>
        <p:txBody>
          <a:bodyPr wrap="square" rtlCol="0">
            <a:spAutoFit/>
          </a:bodyPr>
          <a:lstStyle/>
          <a:p>
            <a:r>
              <a:rPr lang="en-US" sz="800" dirty="0"/>
              <a:t>ITB review all Assets. The process will be bi-yearly</a:t>
            </a:r>
          </a:p>
        </p:txBody>
      </p:sp>
      <p:sp>
        <p:nvSpPr>
          <p:cNvPr id="129" name="TextBox 128">
            <a:extLst>
              <a:ext uri="{FF2B5EF4-FFF2-40B4-BE49-F238E27FC236}">
                <a16:creationId xmlns:a16="http://schemas.microsoft.com/office/drawing/2014/main" id="{1DF8FEA7-59D2-4117-BD8E-C9C1935C3F6F}"/>
              </a:ext>
            </a:extLst>
          </p:cNvPr>
          <p:cNvSpPr txBox="1"/>
          <p:nvPr/>
        </p:nvSpPr>
        <p:spPr>
          <a:xfrm>
            <a:off x="4257041" y="1849120"/>
            <a:ext cx="1324406" cy="338554"/>
          </a:xfrm>
          <a:prstGeom prst="rect">
            <a:avLst/>
          </a:prstGeom>
          <a:noFill/>
        </p:spPr>
        <p:txBody>
          <a:bodyPr wrap="square" rtlCol="0">
            <a:spAutoFit/>
          </a:bodyPr>
          <a:lstStyle/>
          <a:p>
            <a:r>
              <a:rPr lang="en-US" sz="800" dirty="0"/>
              <a:t>Shortlist the Assets which are dated </a:t>
            </a:r>
          </a:p>
        </p:txBody>
      </p:sp>
      <p:sp>
        <p:nvSpPr>
          <p:cNvPr id="130" name="TextBox 129">
            <a:extLst>
              <a:ext uri="{FF2B5EF4-FFF2-40B4-BE49-F238E27FC236}">
                <a16:creationId xmlns:a16="http://schemas.microsoft.com/office/drawing/2014/main" id="{3C010611-6961-4A0C-9BF4-863B05222D1F}"/>
              </a:ext>
            </a:extLst>
          </p:cNvPr>
          <p:cNvSpPr txBox="1"/>
          <p:nvPr/>
        </p:nvSpPr>
        <p:spPr>
          <a:xfrm>
            <a:off x="6235540" y="1800225"/>
            <a:ext cx="1121093" cy="584775"/>
          </a:xfrm>
          <a:prstGeom prst="rect">
            <a:avLst/>
          </a:prstGeom>
          <a:noFill/>
        </p:spPr>
        <p:txBody>
          <a:bodyPr wrap="square" rtlCol="0">
            <a:spAutoFit/>
          </a:bodyPr>
          <a:lstStyle/>
          <a:p>
            <a:r>
              <a:rPr lang="en-US" sz="800" dirty="0"/>
              <a:t>ITB will send email to Asset Owner for confirmation</a:t>
            </a:r>
          </a:p>
        </p:txBody>
      </p:sp>
      <p:sp>
        <p:nvSpPr>
          <p:cNvPr id="13" name="Arrow: Notched Right 12">
            <a:extLst>
              <a:ext uri="{FF2B5EF4-FFF2-40B4-BE49-F238E27FC236}">
                <a16:creationId xmlns:a16="http://schemas.microsoft.com/office/drawing/2014/main" id="{5F14696E-D36D-465F-86F8-F6B309CC1D78}"/>
              </a:ext>
            </a:extLst>
          </p:cNvPr>
          <p:cNvSpPr/>
          <p:nvPr/>
        </p:nvSpPr>
        <p:spPr>
          <a:xfrm>
            <a:off x="3728021" y="195570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1E931233-6FC2-41A4-B21D-06DDEC2DA6A1}"/>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
        <p:nvSpPr>
          <p:cNvPr id="158" name="Arrow: Notched Right 157">
            <a:extLst>
              <a:ext uri="{FF2B5EF4-FFF2-40B4-BE49-F238E27FC236}">
                <a16:creationId xmlns:a16="http://schemas.microsoft.com/office/drawing/2014/main" id="{A0A723E4-D3A2-404B-9F14-A17947311756}"/>
              </a:ext>
            </a:extLst>
          </p:cNvPr>
          <p:cNvSpPr/>
          <p:nvPr/>
        </p:nvSpPr>
        <p:spPr>
          <a:xfrm>
            <a:off x="5729541" y="1946183"/>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Flowchart: Process 158">
            <a:extLst>
              <a:ext uri="{FF2B5EF4-FFF2-40B4-BE49-F238E27FC236}">
                <a16:creationId xmlns:a16="http://schemas.microsoft.com/office/drawing/2014/main" id="{72530D32-892B-4D40-81DE-AB13320B8887}"/>
              </a:ext>
            </a:extLst>
          </p:cNvPr>
          <p:cNvSpPr/>
          <p:nvPr/>
        </p:nvSpPr>
        <p:spPr>
          <a:xfrm>
            <a:off x="10153384" y="1743857"/>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61" name="TextBox 160">
            <a:extLst>
              <a:ext uri="{FF2B5EF4-FFF2-40B4-BE49-F238E27FC236}">
                <a16:creationId xmlns:a16="http://schemas.microsoft.com/office/drawing/2014/main" id="{D531E052-9460-471B-8B21-D8E902E064A4}"/>
              </a:ext>
            </a:extLst>
          </p:cNvPr>
          <p:cNvSpPr txBox="1"/>
          <p:nvPr/>
        </p:nvSpPr>
        <p:spPr>
          <a:xfrm>
            <a:off x="10119360" y="1838960"/>
            <a:ext cx="1615440" cy="307777"/>
          </a:xfrm>
          <a:prstGeom prst="rect">
            <a:avLst/>
          </a:prstGeom>
          <a:noFill/>
        </p:spPr>
        <p:txBody>
          <a:bodyPr wrap="square" rtlCol="0">
            <a:spAutoFit/>
          </a:bodyPr>
          <a:lstStyle/>
          <a:p>
            <a:r>
              <a:rPr lang="en-US" sz="700" dirty="0"/>
              <a:t>Asset will publish on Portal upon approval</a:t>
            </a:r>
          </a:p>
        </p:txBody>
      </p:sp>
      <p:sp>
        <p:nvSpPr>
          <p:cNvPr id="163" name="Arrow: Notched Right 162">
            <a:extLst>
              <a:ext uri="{FF2B5EF4-FFF2-40B4-BE49-F238E27FC236}">
                <a16:creationId xmlns:a16="http://schemas.microsoft.com/office/drawing/2014/main" id="{47B63101-A762-40BC-B803-DC7B63F9B8B7}"/>
              </a:ext>
            </a:extLst>
          </p:cNvPr>
          <p:cNvSpPr/>
          <p:nvPr/>
        </p:nvSpPr>
        <p:spPr>
          <a:xfrm>
            <a:off x="9701466" y="193665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Arrow: Notched Right 163">
            <a:extLst>
              <a:ext uri="{FF2B5EF4-FFF2-40B4-BE49-F238E27FC236}">
                <a16:creationId xmlns:a16="http://schemas.microsoft.com/office/drawing/2014/main" id="{2412F25B-FF76-4787-B025-F5C70E05A4BE}"/>
              </a:ext>
            </a:extLst>
          </p:cNvPr>
          <p:cNvSpPr/>
          <p:nvPr/>
        </p:nvSpPr>
        <p:spPr>
          <a:xfrm>
            <a:off x="7701216" y="1946183"/>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0319AB45-9CFC-4ED0-A02F-BBB6E3B93B47}"/>
              </a:ext>
            </a:extLst>
          </p:cNvPr>
          <p:cNvSpPr/>
          <p:nvPr/>
        </p:nvSpPr>
        <p:spPr>
          <a:xfrm>
            <a:off x="609600" y="1493520"/>
            <a:ext cx="1374461" cy="47244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Rectangle: Top Corners One Rounded and One Snipped 21">
            <a:extLst>
              <a:ext uri="{FF2B5EF4-FFF2-40B4-BE49-F238E27FC236}">
                <a16:creationId xmlns:a16="http://schemas.microsoft.com/office/drawing/2014/main" id="{97D87FFC-1A98-473B-96E6-960E16F769D1}"/>
              </a:ext>
            </a:extLst>
          </p:cNvPr>
          <p:cNvSpPr/>
          <p:nvPr/>
        </p:nvSpPr>
        <p:spPr>
          <a:xfrm>
            <a:off x="685248" y="175260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165" name="Rectangle: Top Corners One Rounded and One Snipped 164">
            <a:extLst>
              <a:ext uri="{FF2B5EF4-FFF2-40B4-BE49-F238E27FC236}">
                <a16:creationId xmlns:a16="http://schemas.microsoft.com/office/drawing/2014/main" id="{BDA1D654-DC3D-4E7F-9820-D96E927C7613}"/>
              </a:ext>
            </a:extLst>
          </p:cNvPr>
          <p:cNvSpPr/>
          <p:nvPr/>
        </p:nvSpPr>
        <p:spPr>
          <a:xfrm>
            <a:off x="675088" y="352044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166" name="Rectangle: Top Corners One Rounded and One Snipped 165">
            <a:extLst>
              <a:ext uri="{FF2B5EF4-FFF2-40B4-BE49-F238E27FC236}">
                <a16:creationId xmlns:a16="http://schemas.microsoft.com/office/drawing/2014/main" id="{CBCBDAE2-5683-459A-BAF3-90EE54F7E788}"/>
              </a:ext>
            </a:extLst>
          </p:cNvPr>
          <p:cNvSpPr/>
          <p:nvPr/>
        </p:nvSpPr>
        <p:spPr>
          <a:xfrm>
            <a:off x="675088" y="522732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23" name="TextBox 22">
            <a:extLst>
              <a:ext uri="{FF2B5EF4-FFF2-40B4-BE49-F238E27FC236}">
                <a16:creationId xmlns:a16="http://schemas.microsoft.com/office/drawing/2014/main" id="{74449B5E-B8FE-4D66-AC0D-F7D091E809B3}"/>
              </a:ext>
            </a:extLst>
          </p:cNvPr>
          <p:cNvSpPr txBox="1"/>
          <p:nvPr/>
        </p:nvSpPr>
        <p:spPr>
          <a:xfrm>
            <a:off x="698927" y="1917496"/>
            <a:ext cx="1078083" cy="246221"/>
          </a:xfrm>
          <a:prstGeom prst="rect">
            <a:avLst/>
          </a:prstGeom>
          <a:noFill/>
        </p:spPr>
        <p:txBody>
          <a:bodyPr wrap="square" rtlCol="0">
            <a:spAutoFit/>
          </a:bodyPr>
          <a:lstStyle/>
          <a:p>
            <a:r>
              <a:rPr lang="en-US" sz="1000" dirty="0"/>
              <a:t>ITB</a:t>
            </a:r>
          </a:p>
        </p:txBody>
      </p:sp>
      <p:sp>
        <p:nvSpPr>
          <p:cNvPr id="167" name="TextBox 166">
            <a:extLst>
              <a:ext uri="{FF2B5EF4-FFF2-40B4-BE49-F238E27FC236}">
                <a16:creationId xmlns:a16="http://schemas.microsoft.com/office/drawing/2014/main" id="{EC3BAB1F-485B-4AC2-9FD6-62DB9703C285}"/>
              </a:ext>
            </a:extLst>
          </p:cNvPr>
          <p:cNvSpPr txBox="1"/>
          <p:nvPr/>
        </p:nvSpPr>
        <p:spPr>
          <a:xfrm>
            <a:off x="729407" y="3695496"/>
            <a:ext cx="1078083" cy="246221"/>
          </a:xfrm>
          <a:prstGeom prst="rect">
            <a:avLst/>
          </a:prstGeom>
          <a:noFill/>
        </p:spPr>
        <p:txBody>
          <a:bodyPr wrap="square" rtlCol="0">
            <a:spAutoFit/>
          </a:bodyPr>
          <a:lstStyle/>
          <a:p>
            <a:r>
              <a:rPr lang="en-US" sz="1000" dirty="0"/>
              <a:t>Asset Owner</a:t>
            </a:r>
          </a:p>
        </p:txBody>
      </p:sp>
      <p:sp>
        <p:nvSpPr>
          <p:cNvPr id="168" name="TextBox 167">
            <a:extLst>
              <a:ext uri="{FF2B5EF4-FFF2-40B4-BE49-F238E27FC236}">
                <a16:creationId xmlns:a16="http://schemas.microsoft.com/office/drawing/2014/main" id="{68D45633-231D-4404-AACC-2C49FAFBC232}"/>
              </a:ext>
            </a:extLst>
          </p:cNvPr>
          <p:cNvSpPr txBox="1"/>
          <p:nvPr/>
        </p:nvSpPr>
        <p:spPr>
          <a:xfrm>
            <a:off x="751840" y="5384800"/>
            <a:ext cx="1055650" cy="400110"/>
          </a:xfrm>
          <a:prstGeom prst="rect">
            <a:avLst/>
          </a:prstGeom>
          <a:noFill/>
        </p:spPr>
        <p:txBody>
          <a:bodyPr wrap="square" rtlCol="0">
            <a:spAutoFit/>
          </a:bodyPr>
          <a:lstStyle/>
          <a:p>
            <a:r>
              <a:rPr lang="en-US" sz="1000" dirty="0"/>
              <a:t>Innovation Theater</a:t>
            </a:r>
          </a:p>
        </p:txBody>
      </p:sp>
      <p:sp>
        <p:nvSpPr>
          <p:cNvPr id="169" name="Rectangle: Rounded Corners 168">
            <a:extLst>
              <a:ext uri="{FF2B5EF4-FFF2-40B4-BE49-F238E27FC236}">
                <a16:creationId xmlns:a16="http://schemas.microsoft.com/office/drawing/2014/main" id="{FB8AA5C9-F6DB-444E-817B-5059AB4BAB58}"/>
              </a:ext>
            </a:extLst>
          </p:cNvPr>
          <p:cNvSpPr/>
          <p:nvPr/>
        </p:nvSpPr>
        <p:spPr>
          <a:xfrm>
            <a:off x="2057400" y="333248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0" name="Rectangle: Rounded Corners 169">
            <a:extLst>
              <a:ext uri="{FF2B5EF4-FFF2-40B4-BE49-F238E27FC236}">
                <a16:creationId xmlns:a16="http://schemas.microsoft.com/office/drawing/2014/main" id="{CAF60416-C2D5-47B7-8D21-C46BCEB1D509}"/>
              </a:ext>
            </a:extLst>
          </p:cNvPr>
          <p:cNvSpPr/>
          <p:nvPr/>
        </p:nvSpPr>
        <p:spPr>
          <a:xfrm>
            <a:off x="2057400" y="506984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3" name="Flowchart: Process 172">
            <a:extLst>
              <a:ext uri="{FF2B5EF4-FFF2-40B4-BE49-F238E27FC236}">
                <a16:creationId xmlns:a16="http://schemas.microsoft.com/office/drawing/2014/main" id="{0F7A3D3A-5E11-4412-8DEE-5A86FC1B429C}"/>
              </a:ext>
            </a:extLst>
          </p:cNvPr>
          <p:cNvSpPr/>
          <p:nvPr/>
        </p:nvSpPr>
        <p:spPr>
          <a:xfrm>
            <a:off x="8145876" y="528828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75" name="TextBox 174">
            <a:extLst>
              <a:ext uri="{FF2B5EF4-FFF2-40B4-BE49-F238E27FC236}">
                <a16:creationId xmlns:a16="http://schemas.microsoft.com/office/drawing/2014/main" id="{01F52235-CC6D-42E6-8581-5129E80467AE}"/>
              </a:ext>
            </a:extLst>
          </p:cNvPr>
          <p:cNvSpPr txBox="1"/>
          <p:nvPr/>
        </p:nvSpPr>
        <p:spPr>
          <a:xfrm>
            <a:off x="8115300" y="5482829"/>
            <a:ext cx="1559930" cy="260687"/>
          </a:xfrm>
          <a:prstGeom prst="rect">
            <a:avLst/>
          </a:prstGeom>
          <a:noFill/>
        </p:spPr>
        <p:txBody>
          <a:bodyPr wrap="square" rtlCol="0">
            <a:spAutoFit/>
          </a:bodyPr>
          <a:lstStyle/>
          <a:p>
            <a:r>
              <a:rPr lang="en-US" sz="800" dirty="0"/>
              <a:t>Remove / Retire on Portal</a:t>
            </a:r>
          </a:p>
        </p:txBody>
      </p:sp>
      <p:sp>
        <p:nvSpPr>
          <p:cNvPr id="176" name="Arrow: Notched Right 175">
            <a:extLst>
              <a:ext uri="{FF2B5EF4-FFF2-40B4-BE49-F238E27FC236}">
                <a16:creationId xmlns:a16="http://schemas.microsoft.com/office/drawing/2014/main" id="{1F2D300D-9372-407C-ACF5-D15E499A5411}"/>
              </a:ext>
            </a:extLst>
          </p:cNvPr>
          <p:cNvSpPr/>
          <p:nvPr/>
        </p:nvSpPr>
        <p:spPr>
          <a:xfrm rot="16200000">
            <a:off x="10717466" y="283073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Arrow: Notched Right 176">
            <a:extLst>
              <a:ext uri="{FF2B5EF4-FFF2-40B4-BE49-F238E27FC236}">
                <a16:creationId xmlns:a16="http://schemas.microsoft.com/office/drawing/2014/main" id="{78FDD95A-42D4-42DA-A3AE-F321A2D226B5}"/>
              </a:ext>
            </a:extLst>
          </p:cNvPr>
          <p:cNvSpPr/>
          <p:nvPr/>
        </p:nvSpPr>
        <p:spPr>
          <a:xfrm rot="5400000">
            <a:off x="8685466" y="465953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Flowchart: Process 177">
            <a:extLst>
              <a:ext uri="{FF2B5EF4-FFF2-40B4-BE49-F238E27FC236}">
                <a16:creationId xmlns:a16="http://schemas.microsoft.com/office/drawing/2014/main" id="{EBE547CA-62F4-43AF-B7E1-12A5F39B5779}"/>
              </a:ext>
            </a:extLst>
          </p:cNvPr>
          <p:cNvSpPr/>
          <p:nvPr/>
        </p:nvSpPr>
        <p:spPr>
          <a:xfrm>
            <a:off x="8156036" y="3439624"/>
            <a:ext cx="1476914" cy="343671"/>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79" name="TextBox 178">
            <a:extLst>
              <a:ext uri="{FF2B5EF4-FFF2-40B4-BE49-F238E27FC236}">
                <a16:creationId xmlns:a16="http://schemas.microsoft.com/office/drawing/2014/main" id="{3A5ACD23-6815-48E1-9284-4D1B2B5C14DA}"/>
              </a:ext>
            </a:extLst>
          </p:cNvPr>
          <p:cNvSpPr txBox="1"/>
          <p:nvPr/>
        </p:nvSpPr>
        <p:spPr>
          <a:xfrm>
            <a:off x="8310880" y="3495040"/>
            <a:ext cx="1565010" cy="215444"/>
          </a:xfrm>
          <a:prstGeom prst="rect">
            <a:avLst/>
          </a:prstGeom>
          <a:noFill/>
        </p:spPr>
        <p:txBody>
          <a:bodyPr wrap="square" rtlCol="0">
            <a:spAutoFit/>
          </a:bodyPr>
          <a:lstStyle/>
          <a:p>
            <a:r>
              <a:rPr lang="en-US" sz="800" dirty="0"/>
              <a:t>If Reject</a:t>
            </a:r>
          </a:p>
        </p:txBody>
      </p:sp>
      <p:sp>
        <p:nvSpPr>
          <p:cNvPr id="180" name="Arrow: Notched Right 179">
            <a:extLst>
              <a:ext uri="{FF2B5EF4-FFF2-40B4-BE49-F238E27FC236}">
                <a16:creationId xmlns:a16="http://schemas.microsoft.com/office/drawing/2014/main" id="{3674B632-06D5-48AB-A9C6-0F0BF70B3C07}"/>
              </a:ext>
            </a:extLst>
          </p:cNvPr>
          <p:cNvSpPr/>
          <p:nvPr/>
        </p:nvSpPr>
        <p:spPr>
          <a:xfrm rot="5400000">
            <a:off x="8695626" y="284089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Flowchart: Process 180">
            <a:extLst>
              <a:ext uri="{FF2B5EF4-FFF2-40B4-BE49-F238E27FC236}">
                <a16:creationId xmlns:a16="http://schemas.microsoft.com/office/drawing/2014/main" id="{8A8F135E-AF40-40CD-9099-4CCF9442EFD2}"/>
              </a:ext>
            </a:extLst>
          </p:cNvPr>
          <p:cNvSpPr/>
          <p:nvPr/>
        </p:nvSpPr>
        <p:spPr>
          <a:xfrm>
            <a:off x="8176356" y="4018744"/>
            <a:ext cx="1476914" cy="343671"/>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dirty="0"/>
          </a:p>
        </p:txBody>
      </p:sp>
      <p:sp>
        <p:nvSpPr>
          <p:cNvPr id="182" name="TextBox 181">
            <a:extLst>
              <a:ext uri="{FF2B5EF4-FFF2-40B4-BE49-F238E27FC236}">
                <a16:creationId xmlns:a16="http://schemas.microsoft.com/office/drawing/2014/main" id="{B9988CC6-A7E2-42A8-A23B-26B2B551B35D}"/>
              </a:ext>
            </a:extLst>
          </p:cNvPr>
          <p:cNvSpPr txBox="1"/>
          <p:nvPr/>
        </p:nvSpPr>
        <p:spPr>
          <a:xfrm>
            <a:off x="8331200" y="4074160"/>
            <a:ext cx="1565010" cy="215444"/>
          </a:xfrm>
          <a:prstGeom prst="rect">
            <a:avLst/>
          </a:prstGeom>
          <a:noFill/>
        </p:spPr>
        <p:txBody>
          <a:bodyPr wrap="square" rtlCol="0">
            <a:spAutoFit/>
          </a:bodyPr>
          <a:lstStyle/>
          <a:p>
            <a:r>
              <a:rPr lang="en-US" sz="800" dirty="0"/>
              <a:t>If Confirm</a:t>
            </a:r>
          </a:p>
        </p:txBody>
      </p:sp>
      <p:sp>
        <p:nvSpPr>
          <p:cNvPr id="183" name="Arrow: Notched Right 182">
            <a:extLst>
              <a:ext uri="{FF2B5EF4-FFF2-40B4-BE49-F238E27FC236}">
                <a16:creationId xmlns:a16="http://schemas.microsoft.com/office/drawing/2014/main" id="{12A16F0B-FFE8-4D85-ABA2-2863933119D0}"/>
              </a:ext>
            </a:extLst>
          </p:cNvPr>
          <p:cNvSpPr/>
          <p:nvPr/>
        </p:nvSpPr>
        <p:spPr>
          <a:xfrm>
            <a:off x="9730041" y="347589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Flowchart: Decision 23">
            <a:extLst>
              <a:ext uri="{FF2B5EF4-FFF2-40B4-BE49-F238E27FC236}">
                <a16:creationId xmlns:a16="http://schemas.microsoft.com/office/drawing/2014/main" id="{C233C96D-A98C-4EF5-8070-8AB9821E0FC6}"/>
              </a:ext>
            </a:extLst>
          </p:cNvPr>
          <p:cNvSpPr/>
          <p:nvPr/>
        </p:nvSpPr>
        <p:spPr>
          <a:xfrm>
            <a:off x="8179049" y="1591551"/>
            <a:ext cx="1371682" cy="963382"/>
          </a:xfrm>
          <a:prstGeom prst="flowChartDecision">
            <a:avLst/>
          </a:prstGeom>
          <a:ln w="508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dk1"/>
              </a:solidFill>
            </a:endParaRPr>
          </a:p>
        </p:txBody>
      </p:sp>
      <p:sp>
        <p:nvSpPr>
          <p:cNvPr id="184" name="TextBox 183">
            <a:extLst>
              <a:ext uri="{FF2B5EF4-FFF2-40B4-BE49-F238E27FC236}">
                <a16:creationId xmlns:a16="http://schemas.microsoft.com/office/drawing/2014/main" id="{4EC6AF2C-8198-4EFC-95CF-8AA9480CE80A}"/>
              </a:ext>
            </a:extLst>
          </p:cNvPr>
          <p:cNvSpPr txBox="1"/>
          <p:nvPr/>
        </p:nvSpPr>
        <p:spPr>
          <a:xfrm>
            <a:off x="8496663" y="1915435"/>
            <a:ext cx="1273455" cy="346975"/>
          </a:xfrm>
          <a:prstGeom prst="rect">
            <a:avLst/>
          </a:prstGeom>
          <a:noFill/>
        </p:spPr>
        <p:txBody>
          <a:bodyPr wrap="square" rtlCol="0">
            <a:spAutoFit/>
          </a:bodyPr>
          <a:lstStyle/>
          <a:p>
            <a:r>
              <a:rPr lang="en-US" sz="800" dirty="0"/>
              <a:t>Send for Confirmation</a:t>
            </a:r>
          </a:p>
        </p:txBody>
      </p:sp>
      <p:sp>
        <p:nvSpPr>
          <p:cNvPr id="160" name="Flowchart: Process 159">
            <a:extLst>
              <a:ext uri="{FF2B5EF4-FFF2-40B4-BE49-F238E27FC236}">
                <a16:creationId xmlns:a16="http://schemas.microsoft.com/office/drawing/2014/main" id="{D67F4C4D-C7F6-4363-BD8E-3F606D25D0E5}"/>
              </a:ext>
            </a:extLst>
          </p:cNvPr>
          <p:cNvSpPr/>
          <p:nvPr/>
        </p:nvSpPr>
        <p:spPr>
          <a:xfrm>
            <a:off x="10223524" y="3512164"/>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42" name="TextBox 41">
            <a:extLst>
              <a:ext uri="{FF2B5EF4-FFF2-40B4-BE49-F238E27FC236}">
                <a16:creationId xmlns:a16="http://schemas.microsoft.com/office/drawing/2014/main" id="{DF632D59-ED33-4958-B76B-3BE83B851578}"/>
              </a:ext>
            </a:extLst>
          </p:cNvPr>
          <p:cNvSpPr txBox="1"/>
          <p:nvPr/>
        </p:nvSpPr>
        <p:spPr>
          <a:xfrm rot="10800000" flipV="1">
            <a:off x="10359671" y="3624102"/>
            <a:ext cx="1145989" cy="567583"/>
          </a:xfrm>
          <a:prstGeom prst="rect">
            <a:avLst/>
          </a:prstGeom>
          <a:noFill/>
        </p:spPr>
        <p:txBody>
          <a:bodyPr wrap="square" rtlCol="0">
            <a:spAutoFit/>
          </a:bodyPr>
          <a:lstStyle/>
          <a:p>
            <a:r>
              <a:rPr lang="en-US" sz="800" dirty="0"/>
              <a:t>Asset Owner update Asset and send for approval</a:t>
            </a:r>
          </a:p>
        </p:txBody>
      </p:sp>
    </p:spTree>
    <p:extLst>
      <p:ext uri="{BB962C8B-B14F-4D97-AF65-F5344CB8AC3E}">
        <p14:creationId xmlns:p14="http://schemas.microsoft.com/office/powerpoint/2010/main" val="33235716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DF2FCECD-420A-4E93-ACD9-79FA685C707C}"/>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F2E8AAEE-319B-4902-A89E-79A9DABE139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45DF622C34FD94C92D489D80F53EA0E" ma:contentTypeVersion="7" ma:contentTypeDescription="Create a new document." ma:contentTypeScope="" ma:versionID="6090e7f3c045ac840ec617baf1034993">
  <xsd:schema xmlns:xsd="http://www.w3.org/2001/XMLSchema" xmlns:xs="http://www.w3.org/2001/XMLSchema" xmlns:p="http://schemas.microsoft.com/office/2006/metadata/properties" xmlns:ns3="551f6819-217d-4343-807e-5369bda66e6b" targetNamespace="http://schemas.microsoft.com/office/2006/metadata/properties" ma:root="true" ma:fieldsID="a659957c5c573a8fd193c62a37826a69" ns3:_="">
    <xsd:import namespace="551f6819-217d-4343-807e-5369bda66e6b"/>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51f6819-217d-4343-807e-5369bda66e6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40AA718-7C67-44E3-9D00-23F61B4CF6FE}">
  <ds:schemaRefs>
    <ds:schemaRef ds:uri="http://schemas.microsoft.com/sharepoint/v3/contenttype/forms"/>
  </ds:schemaRefs>
</ds:datastoreItem>
</file>

<file path=customXml/itemProps2.xml><?xml version="1.0" encoding="utf-8"?>
<ds:datastoreItem xmlns:ds="http://schemas.openxmlformats.org/officeDocument/2006/customXml" ds:itemID="{726B659D-35D8-47A2-8F52-BA8CBFF23DAE}">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551f6819-217d-4343-807e-5369bda66e6b"/>
    <ds:schemaRef ds:uri="http://www.w3.org/XML/1998/namespace"/>
    <ds:schemaRef ds:uri="http://purl.org/dc/dcmitype/"/>
  </ds:schemaRefs>
</ds:datastoreItem>
</file>

<file path=customXml/itemProps3.xml><?xml version="1.0" encoding="utf-8"?>
<ds:datastoreItem xmlns:ds="http://schemas.openxmlformats.org/officeDocument/2006/customXml" ds:itemID="{8F4E5767-B07C-4E79-983B-ED8B1B6012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51f6819-217d-4343-807e-5369bda66e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ew_branding_ppt-template_1132017</Template>
  <TotalTime>3133</TotalTime>
  <Words>398</Words>
  <Application>Microsoft Office PowerPoint</Application>
  <PresentationFormat>Widescreen</PresentationFormat>
  <Paragraphs>45</Paragraphs>
  <Slides>6</Slides>
  <Notes>5</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6</vt:i4>
      </vt:variant>
    </vt:vector>
  </HeadingPairs>
  <TitlesOfParts>
    <vt:vector size="13" baseType="lpstr">
      <vt:lpstr>Arial</vt:lpstr>
      <vt:lpstr>Verdana</vt:lpstr>
      <vt:lpstr>Wingdings</vt:lpstr>
      <vt:lpstr>Capgemini Master</vt:lpstr>
      <vt:lpstr>Cover options</vt:lpstr>
      <vt:lpstr>Final slides</vt:lpstr>
      <vt:lpstr>think-cell Slide</vt:lpstr>
      <vt:lpstr>PowerPoint Presentation</vt:lpstr>
      <vt:lpstr>Innovation Theater Board (ITB)</vt:lpstr>
      <vt:lpstr>PowerPoint Presentation</vt:lpstr>
      <vt:lpstr>PowerPoint Presentation</vt:lpstr>
      <vt:lpstr>Assets Reviewal Process (Bi Yearly)</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Karmalkar, Amol</dc:creator>
  <cp:lastModifiedBy>Mahadik, Swapnil</cp:lastModifiedBy>
  <cp:revision>520</cp:revision>
  <cp:lastPrinted>2019-05-15T05:15:02Z</cp:lastPrinted>
  <dcterms:created xsi:type="dcterms:W3CDTF">2017-11-06T06:32:31Z</dcterms:created>
  <dcterms:modified xsi:type="dcterms:W3CDTF">2021-06-23T06:0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5DF622C34FD94C92D489D80F53EA0E</vt:lpwstr>
  </property>
</Properties>
</file>